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22"/>
    <p:sldMasterId id="2147483692" r:id="rId23"/>
  </p:sldMasterIdLst>
  <p:notesMasterIdLst>
    <p:notesMasterId r:id="rId31"/>
  </p:notesMasterIdLst>
  <p:sldIdLst>
    <p:sldId id="456" r:id="rId24"/>
    <p:sldId id="465" r:id="rId25"/>
    <p:sldId id="463" r:id="rId26"/>
    <p:sldId id="467" r:id="rId27"/>
    <p:sldId id="464" r:id="rId28"/>
    <p:sldId id="460" r:id="rId29"/>
    <p:sldId id="462" r:id="rId30"/>
  </p:sldIdLst>
  <p:sldSz cx="12192000" cy="6858000"/>
  <p:notesSz cx="6797675" cy="9926638"/>
  <p:custDataLst>
    <p:tags r:id="rId3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83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tzhan, Saltanat" initials="SS" lastIdx="2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FCD"/>
    <a:srgbClr val="002060"/>
    <a:srgbClr val="FFFFFF"/>
    <a:srgbClr val="41719C"/>
    <a:srgbClr val="DEEBF7"/>
    <a:srgbClr val="1F4E79"/>
    <a:srgbClr val="00338D"/>
    <a:srgbClr val="0070C0"/>
    <a:srgbClr val="00318A"/>
    <a:srgbClr val="4058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802" autoAdjust="0"/>
    <p:restoredTop sz="95291" autoAdjust="0"/>
  </p:normalViewPr>
  <p:slideViewPr>
    <p:cSldViewPr snapToGrid="0">
      <p:cViewPr>
        <p:scale>
          <a:sx n="110" d="100"/>
          <a:sy n="110" d="100"/>
        </p:scale>
        <p:origin x="-582" y="-156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2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2.xml"/><Relationship Id="rId28" Type="http://schemas.openxmlformats.org/officeDocument/2006/relationships/slide" Target="slides/slide5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Master" Target="slideMasters/slideMaster1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6"/>
            <a:ext cx="2945659" cy="498055"/>
          </a:xfrm>
          <a:prstGeom prst="rect">
            <a:avLst/>
          </a:prstGeom>
        </p:spPr>
        <p:txBody>
          <a:bodyPr vert="horz" lIns="91365" tIns="45685" rIns="91365" bIns="4568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6" y="6"/>
            <a:ext cx="2945659" cy="498055"/>
          </a:xfrm>
          <a:prstGeom prst="rect">
            <a:avLst/>
          </a:prstGeom>
        </p:spPr>
        <p:txBody>
          <a:bodyPr vert="horz" lIns="91365" tIns="45685" rIns="91365" bIns="45685" rtlCol="0"/>
          <a:lstStyle>
            <a:lvl1pPr algn="r">
              <a:defRPr sz="1200"/>
            </a:lvl1pPr>
          </a:lstStyle>
          <a:p>
            <a:fld id="{A8246479-FF2E-4DE6-960D-46F9390C5EA2}" type="datetimeFigureOut">
              <a:rPr lang="ru-RU" smtClean="0"/>
              <a:t>28.11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65" tIns="45685" rIns="91365" bIns="4568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365" tIns="45685" rIns="91365" bIns="4568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6"/>
            <a:ext cx="2945659" cy="498054"/>
          </a:xfrm>
          <a:prstGeom prst="rect">
            <a:avLst/>
          </a:prstGeom>
        </p:spPr>
        <p:txBody>
          <a:bodyPr vert="horz" lIns="91365" tIns="45685" rIns="91365" bIns="4568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6" y="9428586"/>
            <a:ext cx="2945659" cy="498054"/>
          </a:xfrm>
          <a:prstGeom prst="rect">
            <a:avLst/>
          </a:prstGeom>
        </p:spPr>
        <p:txBody>
          <a:bodyPr vert="horz" lIns="91365" tIns="45685" rIns="91365" bIns="45685" rtlCol="0" anchor="b"/>
          <a:lstStyle>
            <a:lvl1pPr algn="r">
              <a:defRPr sz="1200"/>
            </a:lvl1pPr>
          </a:lstStyle>
          <a:p>
            <a:fld id="{7C9EF0BD-C9EA-430F-A039-5351299AF9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91321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9EF0BD-C9EA-430F-A039-5351299AF9F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2172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F6E494-0AAE-4055-B86F-4F84556FEC50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69399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F8AF2F-F4D6-4A90-9F27-DD51B4365ED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54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F8AF2F-F4D6-4A90-9F27-DD51B4365ED0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54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F8AF2F-F4D6-4A90-9F27-DD51B4365ED0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054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F8AF2F-F4D6-4A90-9F27-DD51B4365ED0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65195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F8AF2F-F4D6-4A90-9F27-DD51B4365ED0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4152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85529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87385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0144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" y="0"/>
            <a:ext cx="12191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6030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0669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9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" y="0"/>
            <a:ext cx="12191999" cy="65694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6030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04154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3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7998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0650429" cy="83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07" y="1508760"/>
            <a:ext cx="11074088" cy="4590288"/>
          </a:xfrm>
        </p:spPr>
        <p:txBody>
          <a:bodyPr lIns="0" tIns="0" rIns="0" bIns="0"/>
          <a:lstStyle>
            <a:lvl1pPr>
              <a:spcBef>
                <a:spcPts val="436"/>
              </a:spcBef>
              <a:defRPr/>
            </a:lvl1pPr>
            <a:lvl2pPr marL="519488" indent="-261789">
              <a:spcBef>
                <a:spcPts val="436"/>
              </a:spcBef>
              <a:defRPr/>
            </a:lvl2pPr>
            <a:lvl3pPr marL="1038977" indent="-261789">
              <a:spcBef>
                <a:spcPts val="436"/>
              </a:spcBef>
              <a:defRPr/>
            </a:lvl3pPr>
            <a:lvl4pPr marL="1562554" indent="-265880">
              <a:spcBef>
                <a:spcPts val="436"/>
              </a:spcBef>
              <a:defRPr/>
            </a:lvl4pPr>
            <a:lvl5pPr marL="2339742" indent="-261789">
              <a:spcBef>
                <a:spcPts val="436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6030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15844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6030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9472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6030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35017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33" y="160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1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33" y="160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1934" y="239042"/>
            <a:ext cx="11329455" cy="61645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31868" y="854995"/>
            <a:ext cx="11328400" cy="336244"/>
          </a:xfr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6030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6730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61936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78852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73447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6555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43139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4684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49364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328BF-5376-4A3C-B145-9120D508EC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82439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7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2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18.xml"/><Relationship Id="rId9" Type="http://schemas.openxmlformats.org/officeDocument/2006/relationships/oleObject" Target="../embeddings/oleObject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40003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1" name="Слайд think-cell" r:id="rId19" imgW="216" imgH="216" progId="TCLayout.ActiveDocument.1">
                  <p:embed/>
                </p:oleObj>
              </mc:Choice>
              <mc:Fallback>
                <p:oleObj name="Слайд think-cell" r:id="rId1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6030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1140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4" r:id="rId13"/>
    <p:sldLayoutId id="2147483673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7" name="Слайд think-cell" r:id="rId9" imgW="360" imgH="360" progId="TCLayout.ActiveDocument.1">
                  <p:embed/>
                </p:oleObj>
              </mc:Choice>
              <mc:Fallback>
                <p:oleObj name="Слайд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1038977"/>
            <a:endParaRPr lang="en-US" sz="2667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08" y="1508760"/>
            <a:ext cx="11074088" cy="45902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74088" cy="831600"/>
          </a:xfrm>
          <a:prstGeom prst="rect">
            <a:avLst/>
          </a:prstGeom>
        </p:spPr>
        <p:txBody>
          <a:bodyPr vert="horz" lIns="0" tIns="38963" rIns="0" bIns="38963" rtlCol="0" anchor="b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Прямоугольник 75"/>
          <p:cNvSpPr/>
          <p:nvPr userDrawn="1"/>
        </p:nvSpPr>
        <p:spPr>
          <a:xfrm>
            <a:off x="0" y="0"/>
            <a:ext cx="12192000" cy="683581"/>
          </a:xfrm>
          <a:prstGeom prst="rect">
            <a:avLst/>
          </a:prstGeom>
          <a:solidFill>
            <a:srgbClr val="4472C4">
              <a:lumMod val="75000"/>
            </a:srgbClr>
          </a:solidFill>
          <a:ln w="12700" cap="flat" cmpd="sng" algn="ctr">
            <a:solidFill>
              <a:srgbClr val="5B9BD5">
                <a:shade val="50000"/>
              </a:srgbClr>
            </a:solidFill>
            <a:prstDash val="solid"/>
            <a:miter lim="800000"/>
          </a:ln>
          <a:effectLst/>
        </p:spPr>
        <p:txBody>
          <a:bodyPr lIns="92899" tIns="46455" rIns="92899" bIns="46455"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400" b="1" dirty="0">
                <a:solidFill>
                  <a:srgbClr val="2F5597"/>
                </a:solidFill>
                <a:cs typeface="Arial" panose="020B0604020202020204" pitchFamily="34" charset="0"/>
              </a:rPr>
              <a:t>   </a:t>
            </a:r>
            <a:r>
              <a:rPr lang="kk-KZ" sz="2400" b="1" dirty="0">
                <a:solidFill>
                  <a:srgbClr val="2F5597"/>
                </a:solidFill>
                <a:cs typeface="Arial" panose="020B0604020202020204" pitchFamily="34" charset="0"/>
              </a:rPr>
              <a:t>     </a:t>
            </a:r>
            <a:endParaRPr lang="en-US" sz="2400" b="1" kern="0" dirty="0">
              <a:solidFill>
                <a:srgbClr val="2F5597"/>
              </a:solidFill>
              <a:cs typeface="Arial" panose="020B0604020202020204" pitchFamily="34" charset="0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6030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264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</p:sldLayoutIdLst>
  <p:hf hdr="0" ftr="0" dt="0"/>
  <p:txStyles>
    <p:titleStyle>
      <a:lvl1pPr algn="l" defTabSz="1038977" rtl="0" eaLnBrk="1" latinLnBrk="0" hangingPunct="1">
        <a:spcBef>
          <a:spcPct val="0"/>
        </a:spcBef>
        <a:buNone/>
        <a:defRPr sz="2667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1038977" rtl="0" eaLnBrk="1" latinLnBrk="0" hangingPunct="1">
        <a:spcBef>
          <a:spcPts val="436"/>
        </a:spcBef>
        <a:buClr>
          <a:srgbClr val="004990"/>
        </a:buClr>
        <a:buFontTx/>
        <a:buNone/>
        <a:defRPr sz="1867" b="1" kern="1200">
          <a:solidFill>
            <a:schemeClr val="tx1"/>
          </a:solidFill>
          <a:latin typeface="+mj-lt"/>
          <a:ea typeface="+mn-ea"/>
          <a:cs typeface="+mn-cs"/>
        </a:defRPr>
      </a:lvl1pPr>
      <a:lvl2pPr marL="519488" indent="-259744" algn="l" defTabSz="1038977" rtl="0" eaLnBrk="1" latinLnBrk="0" hangingPunct="1">
        <a:spcBef>
          <a:spcPts val="436"/>
        </a:spcBef>
        <a:buClr>
          <a:srgbClr val="004990"/>
        </a:buClr>
        <a:buFont typeface="Arial" pitchFamily="34" charset="0"/>
        <a:buChar char="•"/>
        <a:defRPr sz="1867" kern="1200">
          <a:solidFill>
            <a:schemeClr val="tx1"/>
          </a:solidFill>
          <a:latin typeface="+mj-lt"/>
          <a:ea typeface="+mn-ea"/>
          <a:cs typeface="+mn-cs"/>
        </a:defRPr>
      </a:lvl2pPr>
      <a:lvl3pPr marL="1038977" indent="-259744" algn="l" defTabSz="1038977" rtl="0" eaLnBrk="1" latinLnBrk="0" hangingPunct="1">
        <a:spcBef>
          <a:spcPts val="436"/>
        </a:spcBef>
        <a:buClr>
          <a:srgbClr val="004990"/>
        </a:buClr>
        <a:buFont typeface="Arial" pitchFamily="34" charset="0"/>
        <a:buChar char="–"/>
        <a:defRPr sz="1867" kern="1200">
          <a:solidFill>
            <a:schemeClr val="tx1"/>
          </a:solidFill>
          <a:latin typeface="+mj-lt"/>
          <a:ea typeface="+mn-ea"/>
          <a:cs typeface="+mn-cs"/>
        </a:defRPr>
      </a:lvl3pPr>
      <a:lvl4pPr marL="1563877" indent="-265155" algn="l" defTabSz="1038977" rtl="0" eaLnBrk="1" latinLnBrk="0" hangingPunct="1">
        <a:spcBef>
          <a:spcPts val="436"/>
        </a:spcBef>
        <a:buClr>
          <a:srgbClr val="004990"/>
        </a:buClr>
        <a:buFont typeface="Arial" pitchFamily="34" charset="0"/>
        <a:buChar char="–"/>
        <a:defRPr sz="1867" kern="1200">
          <a:solidFill>
            <a:schemeClr val="tx1"/>
          </a:solidFill>
          <a:latin typeface="+mj-lt"/>
          <a:ea typeface="+mn-ea"/>
          <a:cs typeface="+mn-cs"/>
        </a:defRPr>
      </a:lvl4pPr>
      <a:lvl5pPr marL="2339502" indent="-261548" algn="l" defTabSz="1038977" rtl="0" eaLnBrk="1" latinLnBrk="0" hangingPunct="1">
        <a:spcBef>
          <a:spcPts val="436"/>
        </a:spcBef>
        <a:buClr>
          <a:srgbClr val="004990"/>
        </a:buClr>
        <a:buFont typeface="Arial" pitchFamily="34" charset="0"/>
        <a:buChar char="–"/>
        <a:defRPr sz="1867" kern="1200">
          <a:solidFill>
            <a:schemeClr val="tx1"/>
          </a:solidFill>
          <a:latin typeface="+mj-lt"/>
          <a:ea typeface="+mn-ea"/>
          <a:cs typeface="+mn-cs"/>
        </a:defRPr>
      </a:lvl5pPr>
      <a:lvl6pPr marL="2857185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6pPr>
      <a:lvl7pPr marL="3376673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7pPr>
      <a:lvl8pPr marL="3896161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8pPr>
      <a:lvl9pPr marL="4415650" indent="-259744" algn="l" defTabSz="1038977" rtl="0" eaLnBrk="1" latinLnBrk="0" hangingPunct="1">
        <a:spcBef>
          <a:spcPct val="20000"/>
        </a:spcBef>
        <a:buFont typeface="Arial" pitchFamily="34" charset="0"/>
        <a:buChar char="•"/>
        <a:defRPr sz="22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488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97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46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952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440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929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417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5905" algn="l" defTabSz="103897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12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eg"/><Relationship Id="rId11" Type="http://schemas.openxmlformats.org/officeDocument/2006/relationships/image" Target="../media/image18.jpeg"/><Relationship Id="rId5" Type="http://schemas.openxmlformats.org/officeDocument/2006/relationships/image" Target="../media/image12.jpeg"/><Relationship Id="rId10" Type="http://schemas.openxmlformats.org/officeDocument/2006/relationships/image" Target="../media/image17.jpeg"/><Relationship Id="rId4" Type="http://schemas.openxmlformats.org/officeDocument/2006/relationships/image" Target="../media/image11.jpeg"/><Relationship Id="rId9" Type="http://schemas.openxmlformats.org/officeDocument/2006/relationships/image" Target="../media/image1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 l="48000" r="-9000" b="-8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667355" y="6231625"/>
            <a:ext cx="8143875" cy="476250"/>
          </a:xfrm>
          <a:prstGeom prst="rect">
            <a:avLst/>
          </a:prstGeom>
          <a:noFill/>
          <a:ln>
            <a:noFill/>
          </a:ln>
        </p:spPr>
        <p:txBody>
          <a:bodyPr vert="horz" wrap="square" lIns="91434" tIns="45717" rIns="91434" bIns="45717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Gotham Pro" charset="0"/>
              <a:cs typeface="Arial" pitchFamily="34" charset="0"/>
            </a:endParaRPr>
          </a:p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Gotham Pro" charset="0"/>
                <a:cs typeface="Arial" pitchFamily="34" charset="0"/>
              </a:rPr>
              <a:t>Қараша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Gotham Pro" charset="0"/>
                <a:cs typeface="Arial" pitchFamily="34" charset="0"/>
              </a:rPr>
              <a:t>  2023 </a:t>
            </a:r>
            <a:r>
              <a:rPr lang="ru-RU" sz="1400" b="1" dirty="0" err="1">
                <a:solidFill>
                  <a:srgbClr val="1F4E79"/>
                </a:solidFill>
                <a:latin typeface="Arial" pitchFamily="34" charset="0"/>
                <a:ea typeface="Gotham Pro" charset="0"/>
                <a:cs typeface="Arial" pitchFamily="34" charset="0"/>
              </a:rPr>
              <a:t>жыл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Gotham Pro" charset="0"/>
              <a:cs typeface="Arial" pitchFamily="34" charset="0"/>
            </a:endParaRPr>
          </a:p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Arial" pitchFamily="34" charset="0"/>
              <a:ea typeface="Gotham Pro" charset="0"/>
              <a:cs typeface="Arial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241B2E19-CBB4-6129-A7B8-CBA59023D21D}"/>
              </a:ext>
            </a:extLst>
          </p:cNvPr>
          <p:cNvSpPr txBox="1"/>
          <p:nvPr/>
        </p:nvSpPr>
        <p:spPr>
          <a:xfrm>
            <a:off x="21318" y="3179676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ҚТЖ» ҰК» АҚ  </a:t>
            </a:r>
            <a:r>
              <a:rPr lang="ru-RU" sz="24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рі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ларының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уы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object 5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611528" y="219121"/>
            <a:ext cx="3655672" cy="989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8049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="" xmlns:a16="http://schemas.microsoft.com/office/drawing/2014/main" id="{650C9785-071F-4411-9938-39CAE932FDF4}"/>
              </a:ext>
            </a:extLst>
          </p:cNvPr>
          <p:cNvSpPr/>
          <p:nvPr/>
        </p:nvSpPr>
        <p:spPr>
          <a:xfrm>
            <a:off x="-1" y="-220996"/>
            <a:ext cx="12192001" cy="612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ҚТЖ» ҰК» АҚ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рақұрылымдық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лары</a:t>
            </a:r>
            <a:endParaRPr lang="ru-RU" sz="20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="" xmlns:a16="http://schemas.microsoft.com/office/drawing/2014/main" id="{69CD8F70-35C9-4221-9912-B44139E91C6C}"/>
              </a:ext>
            </a:extLst>
          </p:cNvPr>
          <p:cNvCxnSpPr>
            <a:cxnSpLocks/>
          </p:cNvCxnSpPr>
          <p:nvPr/>
        </p:nvCxnSpPr>
        <p:spPr>
          <a:xfrm>
            <a:off x="0" y="359775"/>
            <a:ext cx="12192000" cy="0"/>
          </a:xfrm>
          <a:prstGeom prst="line">
            <a:avLst/>
          </a:prstGeom>
          <a:ln w="28575">
            <a:solidFill>
              <a:srgbClr val="2C85A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Группа 21"/>
          <p:cNvGrpSpPr/>
          <p:nvPr/>
        </p:nvGrpSpPr>
        <p:grpSpPr>
          <a:xfrm>
            <a:off x="325414" y="482787"/>
            <a:ext cx="11429373" cy="4571999"/>
            <a:chOff x="100799" y="1045889"/>
            <a:chExt cx="12600000" cy="6668614"/>
          </a:xfrm>
        </p:grpSpPr>
        <p:pic>
          <p:nvPicPr>
            <p:cNvPr id="2050" name="Picture 2" descr="C:\Users\utegenov_t\Desktop\ЦКР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045"/>
            <a:stretch/>
          </p:blipFill>
          <p:spPr bwMode="auto">
            <a:xfrm>
              <a:off x="100799" y="1045889"/>
              <a:ext cx="12600000" cy="6668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Полилиния 1"/>
            <p:cNvSpPr/>
            <p:nvPr/>
          </p:nvSpPr>
          <p:spPr>
            <a:xfrm>
              <a:off x="9298781" y="5940996"/>
              <a:ext cx="288132" cy="14288"/>
            </a:xfrm>
            <a:custGeom>
              <a:avLst/>
              <a:gdLst>
                <a:gd name="connsiteX0" fmla="*/ 288132 w 288132"/>
                <a:gd name="connsiteY0" fmla="*/ 0 h 14288"/>
                <a:gd name="connsiteX1" fmla="*/ 0 w 288132"/>
                <a:gd name="connsiteY1" fmla="*/ 14288 h 14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8132" h="14288">
                  <a:moveTo>
                    <a:pt x="288132" y="0"/>
                  </a:moveTo>
                  <a:lnTo>
                    <a:pt x="0" y="14288"/>
                  </a:lnTo>
                </a:path>
              </a:pathLst>
            </a:custGeom>
            <a:ln w="57150">
              <a:solidFill>
                <a:srgbClr val="FF0000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  <p:sp>
          <p:nvSpPr>
            <p:cNvPr id="3" name="Овал 2"/>
            <p:cNvSpPr/>
            <p:nvPr/>
          </p:nvSpPr>
          <p:spPr>
            <a:xfrm>
              <a:off x="9245119" y="5912140"/>
              <a:ext cx="108000" cy="108000"/>
            </a:xfrm>
            <a:prstGeom prst="ellipse">
              <a:avLst/>
            </a:prstGeom>
            <a:solidFill>
              <a:srgbClr val="FF0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  <p:sp>
          <p:nvSpPr>
            <p:cNvPr id="12" name="Овал 11"/>
            <p:cNvSpPr/>
            <p:nvPr/>
          </p:nvSpPr>
          <p:spPr>
            <a:xfrm>
              <a:off x="9550913" y="5894140"/>
              <a:ext cx="108000" cy="108000"/>
            </a:xfrm>
            <a:prstGeom prst="ellipse">
              <a:avLst/>
            </a:prstGeom>
            <a:solidFill>
              <a:srgbClr val="FF0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  <p:sp>
          <p:nvSpPr>
            <p:cNvPr id="5" name="Полилиния 4"/>
            <p:cNvSpPr/>
            <p:nvPr/>
          </p:nvSpPr>
          <p:spPr>
            <a:xfrm>
              <a:off x="7200900" y="6748240"/>
              <a:ext cx="107950" cy="460375"/>
            </a:xfrm>
            <a:custGeom>
              <a:avLst/>
              <a:gdLst>
                <a:gd name="connsiteX0" fmla="*/ 107950 w 107950"/>
                <a:gd name="connsiteY0" fmla="*/ 0 h 460375"/>
                <a:gd name="connsiteX1" fmla="*/ 38100 w 107950"/>
                <a:gd name="connsiteY1" fmla="*/ 136525 h 460375"/>
                <a:gd name="connsiteX2" fmla="*/ 22225 w 107950"/>
                <a:gd name="connsiteY2" fmla="*/ 225425 h 460375"/>
                <a:gd name="connsiteX3" fmla="*/ 47625 w 107950"/>
                <a:gd name="connsiteY3" fmla="*/ 320675 h 460375"/>
                <a:gd name="connsiteX4" fmla="*/ 47625 w 107950"/>
                <a:gd name="connsiteY4" fmla="*/ 368300 h 460375"/>
                <a:gd name="connsiteX5" fmla="*/ 47625 w 107950"/>
                <a:gd name="connsiteY5" fmla="*/ 393700 h 460375"/>
                <a:gd name="connsiteX6" fmla="*/ 22225 w 107950"/>
                <a:gd name="connsiteY6" fmla="*/ 419100 h 460375"/>
                <a:gd name="connsiteX7" fmla="*/ 0 w 107950"/>
                <a:gd name="connsiteY7" fmla="*/ 460375 h 460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7950" h="460375">
                  <a:moveTo>
                    <a:pt x="107950" y="0"/>
                  </a:moveTo>
                  <a:lnTo>
                    <a:pt x="38100" y="136525"/>
                  </a:lnTo>
                  <a:lnTo>
                    <a:pt x="22225" y="225425"/>
                  </a:lnTo>
                  <a:lnTo>
                    <a:pt x="47625" y="320675"/>
                  </a:lnTo>
                  <a:lnTo>
                    <a:pt x="47625" y="368300"/>
                  </a:lnTo>
                  <a:lnTo>
                    <a:pt x="47625" y="393700"/>
                  </a:lnTo>
                  <a:lnTo>
                    <a:pt x="22225" y="419100"/>
                  </a:lnTo>
                  <a:lnTo>
                    <a:pt x="0" y="460375"/>
                  </a:lnTo>
                </a:path>
              </a:pathLst>
            </a:custGeom>
            <a:ln w="57150">
              <a:solidFill>
                <a:srgbClr val="090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  <p:sp>
          <p:nvSpPr>
            <p:cNvPr id="19" name="Овал 18"/>
            <p:cNvSpPr/>
            <p:nvPr/>
          </p:nvSpPr>
          <p:spPr>
            <a:xfrm>
              <a:off x="7250685" y="6682209"/>
              <a:ext cx="108000" cy="108000"/>
            </a:xfrm>
            <a:prstGeom prst="ellipse">
              <a:avLst/>
            </a:prstGeom>
            <a:solidFill>
              <a:srgbClr val="0900C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  <p:sp>
          <p:nvSpPr>
            <p:cNvPr id="9" name="Полилиния 8"/>
            <p:cNvSpPr/>
            <p:nvPr/>
          </p:nvSpPr>
          <p:spPr>
            <a:xfrm>
              <a:off x="7112794" y="7214965"/>
              <a:ext cx="80962" cy="54769"/>
            </a:xfrm>
            <a:custGeom>
              <a:avLst/>
              <a:gdLst>
                <a:gd name="connsiteX0" fmla="*/ 80962 w 80962"/>
                <a:gd name="connsiteY0" fmla="*/ 0 h 54769"/>
                <a:gd name="connsiteX1" fmla="*/ 26194 w 80962"/>
                <a:gd name="connsiteY1" fmla="*/ 28575 h 54769"/>
                <a:gd name="connsiteX2" fmla="*/ 14287 w 80962"/>
                <a:gd name="connsiteY2" fmla="*/ 45244 h 54769"/>
                <a:gd name="connsiteX3" fmla="*/ 0 w 80962"/>
                <a:gd name="connsiteY3" fmla="*/ 54769 h 5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62" h="54769">
                  <a:moveTo>
                    <a:pt x="80962" y="0"/>
                  </a:moveTo>
                  <a:lnTo>
                    <a:pt x="26194" y="28575"/>
                  </a:lnTo>
                  <a:lnTo>
                    <a:pt x="14287" y="45244"/>
                  </a:lnTo>
                  <a:lnTo>
                    <a:pt x="0" y="54769"/>
                  </a:lnTo>
                </a:path>
              </a:pathLst>
            </a:custGeom>
            <a:ln w="57150">
              <a:solidFill>
                <a:srgbClr val="090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  <p:sp>
          <p:nvSpPr>
            <p:cNvPr id="18" name="Полилиния 17"/>
            <p:cNvSpPr/>
            <p:nvPr/>
          </p:nvSpPr>
          <p:spPr>
            <a:xfrm>
              <a:off x="8239125" y="4528915"/>
              <a:ext cx="2786063" cy="733425"/>
            </a:xfrm>
            <a:custGeom>
              <a:avLst/>
              <a:gdLst>
                <a:gd name="connsiteX0" fmla="*/ 2786063 w 2786063"/>
                <a:gd name="connsiteY0" fmla="*/ 733425 h 733425"/>
                <a:gd name="connsiteX1" fmla="*/ 2714625 w 2786063"/>
                <a:gd name="connsiteY1" fmla="*/ 666750 h 733425"/>
                <a:gd name="connsiteX2" fmla="*/ 2657475 w 2786063"/>
                <a:gd name="connsiteY2" fmla="*/ 600075 h 733425"/>
                <a:gd name="connsiteX3" fmla="*/ 2571750 w 2786063"/>
                <a:gd name="connsiteY3" fmla="*/ 509588 h 733425"/>
                <a:gd name="connsiteX4" fmla="*/ 2481263 w 2786063"/>
                <a:gd name="connsiteY4" fmla="*/ 504825 h 733425"/>
                <a:gd name="connsiteX5" fmla="*/ 2347913 w 2786063"/>
                <a:gd name="connsiteY5" fmla="*/ 428625 h 733425"/>
                <a:gd name="connsiteX6" fmla="*/ 2200275 w 2786063"/>
                <a:gd name="connsiteY6" fmla="*/ 357188 h 733425"/>
                <a:gd name="connsiteX7" fmla="*/ 1895475 w 2786063"/>
                <a:gd name="connsiteY7" fmla="*/ 138113 h 733425"/>
                <a:gd name="connsiteX8" fmla="*/ 1800225 w 2786063"/>
                <a:gd name="connsiteY8" fmla="*/ 95250 h 733425"/>
                <a:gd name="connsiteX9" fmla="*/ 1552575 w 2786063"/>
                <a:gd name="connsiteY9" fmla="*/ 100013 h 733425"/>
                <a:gd name="connsiteX10" fmla="*/ 1328738 w 2786063"/>
                <a:gd name="connsiteY10" fmla="*/ 142875 h 733425"/>
                <a:gd name="connsiteX11" fmla="*/ 1195388 w 2786063"/>
                <a:gd name="connsiteY11" fmla="*/ 128588 h 733425"/>
                <a:gd name="connsiteX12" fmla="*/ 1152525 w 2786063"/>
                <a:gd name="connsiteY12" fmla="*/ 119063 h 733425"/>
                <a:gd name="connsiteX13" fmla="*/ 1047750 w 2786063"/>
                <a:gd name="connsiteY13" fmla="*/ 176213 h 733425"/>
                <a:gd name="connsiteX14" fmla="*/ 857250 w 2786063"/>
                <a:gd name="connsiteY14" fmla="*/ 176213 h 733425"/>
                <a:gd name="connsiteX15" fmla="*/ 766763 w 2786063"/>
                <a:gd name="connsiteY15" fmla="*/ 147638 h 733425"/>
                <a:gd name="connsiteX16" fmla="*/ 457200 w 2786063"/>
                <a:gd name="connsiteY16" fmla="*/ 142875 h 733425"/>
                <a:gd name="connsiteX17" fmla="*/ 266700 w 2786063"/>
                <a:gd name="connsiteY17" fmla="*/ 138113 h 733425"/>
                <a:gd name="connsiteX18" fmla="*/ 157163 w 2786063"/>
                <a:gd name="connsiteY18" fmla="*/ 114300 h 733425"/>
                <a:gd name="connsiteX19" fmla="*/ 0 w 2786063"/>
                <a:gd name="connsiteY19" fmla="*/ 0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786063" h="733425">
                  <a:moveTo>
                    <a:pt x="2786063" y="733425"/>
                  </a:moveTo>
                  <a:lnTo>
                    <a:pt x="2714625" y="666750"/>
                  </a:lnTo>
                  <a:lnTo>
                    <a:pt x="2657475" y="600075"/>
                  </a:lnTo>
                  <a:lnTo>
                    <a:pt x="2571750" y="509588"/>
                  </a:lnTo>
                  <a:lnTo>
                    <a:pt x="2481263" y="504825"/>
                  </a:lnTo>
                  <a:lnTo>
                    <a:pt x="2347913" y="428625"/>
                  </a:lnTo>
                  <a:lnTo>
                    <a:pt x="2200275" y="357188"/>
                  </a:lnTo>
                  <a:lnTo>
                    <a:pt x="1895475" y="138113"/>
                  </a:lnTo>
                  <a:lnTo>
                    <a:pt x="1800225" y="95250"/>
                  </a:lnTo>
                  <a:lnTo>
                    <a:pt x="1552575" y="100013"/>
                  </a:lnTo>
                  <a:lnTo>
                    <a:pt x="1328738" y="142875"/>
                  </a:lnTo>
                  <a:lnTo>
                    <a:pt x="1195388" y="128588"/>
                  </a:lnTo>
                  <a:lnTo>
                    <a:pt x="1152525" y="119063"/>
                  </a:lnTo>
                  <a:lnTo>
                    <a:pt x="1047750" y="176213"/>
                  </a:lnTo>
                  <a:lnTo>
                    <a:pt x="857250" y="176213"/>
                  </a:lnTo>
                  <a:lnTo>
                    <a:pt x="766763" y="147638"/>
                  </a:lnTo>
                  <a:lnTo>
                    <a:pt x="457200" y="142875"/>
                  </a:lnTo>
                  <a:lnTo>
                    <a:pt x="266700" y="138113"/>
                  </a:lnTo>
                  <a:lnTo>
                    <a:pt x="157163" y="114300"/>
                  </a:lnTo>
                  <a:lnTo>
                    <a:pt x="0" y="0"/>
                  </a:lnTo>
                </a:path>
              </a:pathLst>
            </a:custGeom>
            <a:ln w="57150"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  <p:sp>
          <p:nvSpPr>
            <p:cNvPr id="14" name="Овал 13"/>
            <p:cNvSpPr/>
            <p:nvPr/>
          </p:nvSpPr>
          <p:spPr>
            <a:xfrm>
              <a:off x="8178639" y="4474915"/>
              <a:ext cx="108000" cy="108000"/>
            </a:xfrm>
            <a:prstGeom prst="ellipse">
              <a:avLst/>
            </a:prstGeom>
            <a:solidFill>
              <a:srgbClr val="FF0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10996404" y="5208272"/>
              <a:ext cx="108000" cy="108000"/>
            </a:xfrm>
            <a:prstGeom prst="ellipse">
              <a:avLst/>
            </a:prstGeom>
            <a:solidFill>
              <a:srgbClr val="FF000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  <p:sp>
          <p:nvSpPr>
            <p:cNvPr id="20" name="Овал 19"/>
            <p:cNvSpPr/>
            <p:nvPr/>
          </p:nvSpPr>
          <p:spPr>
            <a:xfrm>
              <a:off x="7153275" y="7134349"/>
              <a:ext cx="108000" cy="108000"/>
            </a:xfrm>
            <a:prstGeom prst="ellipse">
              <a:avLst/>
            </a:prstGeom>
            <a:solidFill>
              <a:srgbClr val="0900C0"/>
            </a:solidFill>
            <a:ln w="63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86"/>
            </a:p>
          </p:txBody>
        </p:sp>
      </p:grpSp>
      <p:cxnSp>
        <p:nvCxnSpPr>
          <p:cNvPr id="25" name="Прямая соединительная линия 24"/>
          <p:cNvCxnSpPr/>
          <p:nvPr/>
        </p:nvCxnSpPr>
        <p:spPr>
          <a:xfrm>
            <a:off x="325415" y="5247947"/>
            <a:ext cx="1371581" cy="0"/>
          </a:xfrm>
          <a:prstGeom prst="line">
            <a:avLst/>
          </a:prstGeom>
          <a:ln w="5715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3221255" y="5267197"/>
            <a:ext cx="1371581" cy="0"/>
          </a:xfrm>
          <a:prstGeom prst="line">
            <a:avLst/>
          </a:prstGeom>
          <a:ln w="57150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6343139" y="5289363"/>
            <a:ext cx="1371581" cy="0"/>
          </a:xfrm>
          <a:prstGeom prst="line">
            <a:avLst/>
          </a:prstGeom>
          <a:ln w="57150">
            <a:solidFill>
              <a:srgbClr val="090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122991" y="5518964"/>
            <a:ext cx="0" cy="8987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9372263" y="5502031"/>
            <a:ext cx="0" cy="8987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Овал 31"/>
          <p:cNvSpPr/>
          <p:nvPr/>
        </p:nvSpPr>
        <p:spPr>
          <a:xfrm>
            <a:off x="9436247" y="2164337"/>
            <a:ext cx="119245" cy="77143"/>
          </a:xfrm>
          <a:prstGeom prst="ellipse">
            <a:avLst/>
          </a:prstGeom>
          <a:solidFill>
            <a:srgbClr val="92D05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>
              <a:solidFill>
                <a:schemeClr val="bg1"/>
              </a:solidFill>
            </a:endParaRPr>
          </a:p>
        </p:txBody>
      </p:sp>
      <p:sp>
        <p:nvSpPr>
          <p:cNvPr id="8" name="Полилиния 7"/>
          <p:cNvSpPr/>
          <p:nvPr/>
        </p:nvSpPr>
        <p:spPr>
          <a:xfrm>
            <a:off x="9731648" y="2545454"/>
            <a:ext cx="712832" cy="446666"/>
          </a:xfrm>
          <a:custGeom>
            <a:avLst/>
            <a:gdLst>
              <a:gd name="connsiteX0" fmla="*/ 0 w 563880"/>
              <a:gd name="connsiteY0" fmla="*/ 0 h 462280"/>
              <a:gd name="connsiteX1" fmla="*/ 563880 w 563880"/>
              <a:gd name="connsiteY1" fmla="*/ 462280 h 462280"/>
              <a:gd name="connsiteX0" fmla="*/ 0 w 563880"/>
              <a:gd name="connsiteY0" fmla="*/ 0 h 462280"/>
              <a:gd name="connsiteX1" fmla="*/ 325120 w 563880"/>
              <a:gd name="connsiteY1" fmla="*/ 172720 h 462280"/>
              <a:gd name="connsiteX2" fmla="*/ 563880 w 563880"/>
              <a:gd name="connsiteY2" fmla="*/ 462280 h 462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63880" h="462280">
                <a:moveTo>
                  <a:pt x="0" y="0"/>
                </a:moveTo>
                <a:cubicBezTo>
                  <a:pt x="94827" y="76200"/>
                  <a:pt x="230293" y="96520"/>
                  <a:pt x="325120" y="172720"/>
                </a:cubicBezTo>
                <a:lnTo>
                  <a:pt x="563880" y="462280"/>
                </a:lnTo>
              </a:path>
            </a:pathLst>
          </a:cu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Овал 36"/>
          <p:cNvSpPr/>
          <p:nvPr/>
        </p:nvSpPr>
        <p:spPr>
          <a:xfrm>
            <a:off x="10385610" y="2953549"/>
            <a:ext cx="119245" cy="77143"/>
          </a:xfrm>
          <a:prstGeom prst="ellipse">
            <a:avLst/>
          </a:prstGeom>
          <a:solidFill>
            <a:srgbClr val="92D05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230883" y="2054162"/>
            <a:ext cx="79163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dirty="0">
                <a:latin typeface="Arial" pitchFamily="34" charset="0"/>
                <a:cs typeface="Arial" pitchFamily="34" charset="0"/>
              </a:rPr>
              <a:t>Аягоз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212354" y="2975774"/>
            <a:ext cx="791633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b="1" dirty="0" err="1">
                <a:latin typeface="Arial" pitchFamily="34" charset="0"/>
                <a:cs typeface="Arial" pitchFamily="34" charset="0"/>
              </a:rPr>
              <a:t>Бахты</a:t>
            </a:r>
            <a:endParaRPr lang="ru-RU" sz="700" b="1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9504960" y="5289363"/>
            <a:ext cx="1371581" cy="0"/>
          </a:xfrm>
          <a:prstGeom prst="line">
            <a:avLst/>
          </a:prstGeom>
          <a:ln w="571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3117324" y="5544364"/>
            <a:ext cx="0" cy="898792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0" name="Picture 2" descr="C:\Users\User\Desktop\депутатам\фотографии\WhatsApp Image 2023-11-27 at 20.34.10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983" y="1059816"/>
            <a:ext cx="2127499" cy="142608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448982" y="1057374"/>
            <a:ext cx="2127500" cy="1426089"/>
          </a:xfrm>
          <a:prstGeom prst="rect">
            <a:avLst/>
          </a:prstGeom>
          <a:noFill/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ая выноска 15"/>
          <p:cNvSpPr/>
          <p:nvPr/>
        </p:nvSpPr>
        <p:spPr>
          <a:xfrm flipV="1">
            <a:off x="2642047" y="1371205"/>
            <a:ext cx="3880673" cy="744509"/>
          </a:xfrm>
          <a:prstGeom prst="wedgeRectCallout">
            <a:avLst>
              <a:gd name="adj1" fmla="val -54712"/>
              <a:gd name="adj2" fmla="val 14996"/>
            </a:avLst>
          </a:prstGeom>
          <a:solidFill>
            <a:schemeClr val="bg1">
              <a:lumMod val="95000"/>
              <a:alpha val="85098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25414" y="482787"/>
            <a:ext cx="6197306" cy="784830"/>
          </a:xfrm>
          <a:prstGeom prst="rect">
            <a:avLst/>
          </a:prstGeom>
          <a:solidFill>
            <a:schemeClr val="bg1">
              <a:lumMod val="95000"/>
              <a:alpha val="85098"/>
            </a:schemeClr>
          </a:solidFill>
          <a:ln w="12700"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Мемлекет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басшысы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Қасым-Жомарт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Тоқаевтың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Әділетті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ның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экономикалық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бағыты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атты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халқына</a:t>
            </a:r>
            <a:r>
              <a:rPr lang="ru-RU" sz="15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latin typeface="Arial" panose="020B0604020202020204" pitchFamily="34" charset="0"/>
                <a:cs typeface="Arial" panose="020B0604020202020204" pitchFamily="34" charset="0"/>
              </a:rPr>
              <a:t>Жолдауы</a:t>
            </a:r>
            <a:endParaRPr lang="ru-RU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702320" y="1407831"/>
            <a:ext cx="382040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Бірінші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кезекте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Достық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Мойынт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Бақт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ягөз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Дарбаз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Мақтаарал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, Алматы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йналм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елісі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сияқт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бірқатар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ірі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теміржол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обалар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асырылуы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тиіс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990EFFF8-BA51-42F8-8F58-6BEBA17070B0}"/>
              </a:ext>
            </a:extLst>
          </p:cNvPr>
          <p:cNvSpPr txBox="1"/>
          <p:nvPr/>
        </p:nvSpPr>
        <p:spPr>
          <a:xfrm>
            <a:off x="171415" y="5309554"/>
            <a:ext cx="2808852" cy="1246495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900" b="1" dirty="0" err="1">
                <a:latin typeface="Arial" pitchFamily="34" charset="0"/>
                <a:cs typeface="Arial" pitchFamily="34" charset="0"/>
              </a:rPr>
              <a:t>Достық-Мойынты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учаскедегі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екінші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жолдардың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құрылысы</a:t>
            </a:r>
            <a:endParaRPr lang="ru-RU" sz="9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900" dirty="0" err="1">
                <a:latin typeface="Arial" pitchFamily="34" charset="0"/>
                <a:cs typeface="Arial" pitchFamily="34" charset="0"/>
              </a:rPr>
              <a:t>Ұзындығ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:        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836  км</a:t>
            </a:r>
          </a:p>
          <a:p>
            <a:pPr marL="130405" indent="-130405" algn="just">
              <a:buFont typeface="Courier New" pitchFamily="49" charset="0"/>
              <a:buChar char="o"/>
              <a:tabLst>
                <a:tab pos="1537638" algn="l"/>
              </a:tabLst>
            </a:pPr>
            <a:r>
              <a:rPr lang="ru-RU" sz="900" dirty="0" err="1">
                <a:latin typeface="Arial" pitchFamily="34" charset="0"/>
                <a:cs typeface="Arial" pitchFamily="34" charset="0"/>
              </a:rPr>
              <a:t>Іске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асыру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мерзімі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: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2022 – 2025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жж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.</a:t>
            </a:r>
          </a:p>
          <a:p>
            <a:pPr indent="-130405" algn="just">
              <a:buFont typeface="Courier New" pitchFamily="49" charset="0"/>
              <a:buChar char="o"/>
              <a:tabLst>
                <a:tab pos="1537638" algn="l"/>
              </a:tabLst>
            </a:pPr>
            <a:r>
              <a:rPr lang="ru-RU" sz="900" dirty="0" err="1">
                <a:latin typeface="Arial" pitchFamily="34" charset="0"/>
                <a:cs typeface="Arial" pitchFamily="34" charset="0"/>
              </a:rPr>
              <a:t>Жұмыс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орындар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:         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2 880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орын</a:t>
            </a:r>
            <a:endParaRPr lang="ru-RU" sz="900" b="1" dirty="0">
              <a:latin typeface="Arial" pitchFamily="34" charset="0"/>
              <a:cs typeface="Arial" pitchFamily="34" charset="0"/>
            </a:endParaRPr>
          </a:p>
          <a:p>
            <a:pPr algn="just">
              <a:buFont typeface="Courier New" pitchFamily="49" charset="0"/>
              <a:buChar char="o"/>
              <a:tabLst>
                <a:tab pos="1537638" algn="l"/>
              </a:tabLst>
            </a:pPr>
            <a:r>
              <a:rPr lang="ru-RU" sz="900" dirty="0">
                <a:latin typeface="Arial" pitchFamily="34" charset="0"/>
                <a:cs typeface="Arial" pitchFamily="34" charset="0"/>
              </a:rPr>
              <a:t> 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Жобан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асыру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өткізу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қабілеті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5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есеге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(24-тен 120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пойызға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дейі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)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және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онтейнерлік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пойыздардың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жылдамдығы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тәулігіне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1500 км-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ге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дейі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арттыруға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мүмкіндік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береді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..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D655E037-8DA4-4285-95A2-8505FAED0BBB}"/>
              </a:ext>
            </a:extLst>
          </p:cNvPr>
          <p:cNvSpPr txBox="1"/>
          <p:nvPr/>
        </p:nvSpPr>
        <p:spPr>
          <a:xfrm>
            <a:off x="3221255" y="5338429"/>
            <a:ext cx="2759243" cy="1246495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kk-KZ" sz="900" b="1" dirty="0">
                <a:latin typeface="Arial" pitchFamily="34" charset="0"/>
                <a:cs typeface="Arial" pitchFamily="34" charset="0"/>
              </a:rPr>
              <a:t>Алматы темір жол торабын айналып өту темір жол желісінің құрылысы</a:t>
            </a:r>
          </a:p>
          <a:p>
            <a:pPr algn="ctr">
              <a:defRPr/>
            </a:pPr>
            <a:r>
              <a:rPr lang="ru-RU" sz="900" dirty="0" err="1">
                <a:latin typeface="Arial" pitchFamily="34" charset="0"/>
                <a:cs typeface="Arial" pitchFamily="34" charset="0"/>
              </a:rPr>
              <a:t>Ұзындығ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:       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77,4  км</a:t>
            </a:r>
          </a:p>
          <a:p>
            <a:pPr marL="130405" indent="-130405" algn="just">
              <a:buFont typeface="Courier New" pitchFamily="49" charset="0"/>
              <a:buChar char="o"/>
              <a:tabLst>
                <a:tab pos="1537638" algn="l"/>
              </a:tabLst>
            </a:pPr>
            <a:r>
              <a:rPr lang="ru-RU" sz="900" dirty="0" err="1">
                <a:latin typeface="Arial" pitchFamily="34" charset="0"/>
                <a:cs typeface="Arial" pitchFamily="34" charset="0"/>
              </a:rPr>
              <a:t>Іске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асыру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мерзімі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: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2024 – 2025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жж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.</a:t>
            </a:r>
          </a:p>
          <a:p>
            <a:pPr indent="-130405" algn="just">
              <a:buFont typeface="Courier New" pitchFamily="49" charset="0"/>
              <a:buChar char="o"/>
              <a:tabLst>
                <a:tab pos="1537638" algn="l"/>
              </a:tabLst>
            </a:pPr>
            <a:r>
              <a:rPr lang="ru-RU" sz="900" dirty="0" err="1">
                <a:latin typeface="Arial" pitchFamily="34" charset="0"/>
                <a:cs typeface="Arial" pitchFamily="34" charset="0"/>
              </a:rPr>
              <a:t>Жұмыс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орындар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:         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1 920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орын</a:t>
            </a:r>
            <a:endParaRPr lang="ru-RU" sz="900" b="1" dirty="0">
              <a:latin typeface="Arial" pitchFamily="34" charset="0"/>
              <a:cs typeface="Arial" pitchFamily="34" charset="0"/>
            </a:endParaRPr>
          </a:p>
          <a:p>
            <a:pPr algn="just">
              <a:buFont typeface="Courier New" pitchFamily="49" charset="0"/>
              <a:buChar char="o"/>
              <a:tabLst>
                <a:tab pos="1473200" algn="l"/>
              </a:tabLst>
            </a:pPr>
            <a:r>
              <a:rPr lang="ru-RU" sz="900" dirty="0">
                <a:latin typeface="Arial" pitchFamily="34" charset="0"/>
                <a:cs typeface="Arial" pitchFamily="34" charset="0"/>
              </a:rPr>
              <a:t> 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Жобаның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мақсат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- Алматы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хабы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40%-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ға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түсіру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,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жүктерді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жеткізу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мерзімі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24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сағатқа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дейі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қысқарту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, Алматы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агломерациясында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қала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маңындағ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жолаушылар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өлігі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дамыту</a:t>
            </a:r>
            <a:endParaRPr lang="ru-RU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D655E037-8DA4-4285-95A2-8505FAED0BBB}"/>
              </a:ext>
            </a:extLst>
          </p:cNvPr>
          <p:cNvSpPr txBox="1"/>
          <p:nvPr/>
        </p:nvSpPr>
        <p:spPr>
          <a:xfrm>
            <a:off x="6301404" y="5367674"/>
            <a:ext cx="2874744" cy="1107996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ru-RU" sz="900" b="1" dirty="0" err="1">
                <a:latin typeface="Arial" pitchFamily="34" charset="0"/>
                <a:cs typeface="Arial" pitchFamily="34" charset="0"/>
              </a:rPr>
              <a:t>Дарбаза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–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Мақтаарал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темір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жол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желісінің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құрылысы</a:t>
            </a:r>
            <a:endParaRPr lang="ru-RU" sz="900" b="1" dirty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900" dirty="0" err="1">
                <a:latin typeface="Arial" pitchFamily="34" charset="0"/>
                <a:cs typeface="Arial" pitchFamily="34" charset="0"/>
              </a:rPr>
              <a:t>Ұзындығ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:       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152,3  км</a:t>
            </a:r>
          </a:p>
          <a:p>
            <a:pPr marL="130405" indent="-130405" algn="just">
              <a:buFont typeface="Courier New" pitchFamily="49" charset="0"/>
              <a:buChar char="o"/>
              <a:tabLst>
                <a:tab pos="1537638" algn="l"/>
              </a:tabLst>
            </a:pPr>
            <a:r>
              <a:rPr lang="ru-RU" sz="900" dirty="0" err="1">
                <a:latin typeface="Arial" pitchFamily="34" charset="0"/>
                <a:cs typeface="Arial" pitchFamily="34" charset="0"/>
              </a:rPr>
              <a:t>Іске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асыру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мерзімі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: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2024 – 2026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жж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130405" indent="-130405" algn="just">
              <a:buFont typeface="Courier New" pitchFamily="49" charset="0"/>
              <a:buChar char="o"/>
              <a:tabLst>
                <a:tab pos="1474137" algn="l"/>
              </a:tabLst>
            </a:pPr>
            <a:r>
              <a:rPr lang="ru-RU" sz="900" dirty="0" err="1">
                <a:latin typeface="Arial" pitchFamily="34" charset="0"/>
                <a:cs typeface="Arial" pitchFamily="34" charset="0"/>
              </a:rPr>
              <a:t>Жұмыс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орындар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:        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3 400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орын</a:t>
            </a:r>
            <a:endParaRPr lang="ru-RU" sz="900" b="1" dirty="0">
              <a:latin typeface="Arial" pitchFamily="34" charset="0"/>
              <a:cs typeface="Arial" pitchFamily="34" charset="0"/>
            </a:endParaRPr>
          </a:p>
          <a:p>
            <a:pPr algn="just">
              <a:buFont typeface="Courier New" pitchFamily="49" charset="0"/>
              <a:buChar char="o"/>
              <a:tabLst>
                <a:tab pos="1473200" algn="l"/>
              </a:tabLst>
            </a:pP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Жобаның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мақсат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-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Қазақстан-Өзбекста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шекарас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арқыл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жаңа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өткізу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пункті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ашу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арқыл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елдің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көліктік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әлеуетін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дамыту</a:t>
            </a:r>
            <a:endParaRPr lang="ru-RU" sz="8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D655E037-8DA4-4285-95A2-8505FAED0BBB}"/>
              </a:ext>
            </a:extLst>
          </p:cNvPr>
          <p:cNvSpPr txBox="1"/>
          <p:nvPr/>
        </p:nvSpPr>
        <p:spPr>
          <a:xfrm>
            <a:off x="9514125" y="5361495"/>
            <a:ext cx="2348563" cy="1308050"/>
          </a:xfrm>
          <a:prstGeom prst="rect">
            <a:avLst/>
          </a:prstGeom>
          <a:noFill/>
          <a:ln w="3175"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endParaRPr lang="ru-RU" sz="900" b="1" dirty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900" b="1" dirty="0" err="1">
                <a:latin typeface="Arial" pitchFamily="34" charset="0"/>
                <a:cs typeface="Arial" pitchFamily="34" charset="0"/>
              </a:rPr>
              <a:t>Бақты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–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Аягөз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(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қос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жол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)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темір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жол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желісінің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құрылысы</a:t>
            </a:r>
            <a:endParaRPr lang="ru-RU" sz="900" b="1" dirty="0">
              <a:latin typeface="Arial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ru-RU" sz="900" dirty="0" err="1">
                <a:latin typeface="Arial" pitchFamily="34" charset="0"/>
                <a:cs typeface="Arial" pitchFamily="34" charset="0"/>
              </a:rPr>
              <a:t>Ұзындығ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:       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272  км</a:t>
            </a:r>
          </a:p>
          <a:p>
            <a:pPr indent="-130405" algn="just">
              <a:buFont typeface="Courier New" pitchFamily="49" charset="0"/>
              <a:buChar char="o"/>
              <a:tabLst>
                <a:tab pos="1537638" algn="l"/>
              </a:tabLst>
            </a:pPr>
            <a:r>
              <a:rPr lang="ru-RU" sz="900" dirty="0" err="1">
                <a:latin typeface="Arial" pitchFamily="34" charset="0"/>
                <a:cs typeface="Arial" pitchFamily="34" charset="0"/>
              </a:rPr>
              <a:t>Жұмыс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err="1">
                <a:latin typeface="Arial" pitchFamily="34" charset="0"/>
                <a:cs typeface="Arial" pitchFamily="34" charset="0"/>
              </a:rPr>
              <a:t>орындары</a:t>
            </a:r>
            <a:r>
              <a:rPr lang="ru-RU" sz="900" dirty="0">
                <a:latin typeface="Arial" pitchFamily="34" charset="0"/>
                <a:cs typeface="Arial" pitchFamily="34" charset="0"/>
              </a:rPr>
              <a:t>:   </a:t>
            </a:r>
            <a:r>
              <a:rPr lang="ru-RU" sz="900" b="1" dirty="0">
                <a:latin typeface="Arial" pitchFamily="34" charset="0"/>
                <a:cs typeface="Arial" pitchFamily="34" charset="0"/>
              </a:rPr>
              <a:t>2 600 </a:t>
            </a:r>
            <a:r>
              <a:rPr lang="ru-RU" sz="900" b="1" dirty="0" err="1">
                <a:latin typeface="Arial" pitchFamily="34" charset="0"/>
                <a:cs typeface="Arial" pitchFamily="34" charset="0"/>
              </a:rPr>
              <a:t>орын</a:t>
            </a:r>
            <a:endParaRPr lang="ru-RU" sz="900" b="1" dirty="0">
              <a:latin typeface="Arial" pitchFamily="34" charset="0"/>
              <a:cs typeface="Arial" pitchFamily="34" charset="0"/>
            </a:endParaRPr>
          </a:p>
          <a:p>
            <a:pPr marL="130405" indent="-130405" algn="just">
              <a:buFont typeface="Courier New" pitchFamily="49" charset="0"/>
              <a:buChar char="o"/>
              <a:tabLst>
                <a:tab pos="1474137" algn="l"/>
              </a:tabLst>
            </a:pPr>
            <a:r>
              <a:rPr lang="ru-RU" sz="1000" dirty="0" err="1">
                <a:latin typeface="Arial" pitchFamily="34" charset="0"/>
                <a:cs typeface="Arial" pitchFamily="34" charset="0"/>
              </a:rPr>
              <a:t>Жобаның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latin typeface="Arial" pitchFamily="34" charset="0"/>
                <a:cs typeface="Arial" pitchFamily="34" charset="0"/>
              </a:rPr>
              <a:t>мақсаты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- </a:t>
            </a:r>
            <a:r>
              <a:rPr lang="ru-RU" sz="1000" dirty="0" err="1">
                <a:latin typeface="Arial" pitchFamily="34" charset="0"/>
                <a:cs typeface="Arial" pitchFamily="34" charset="0"/>
              </a:rPr>
              <a:t>Қытаймен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latin typeface="Arial" pitchFamily="34" charset="0"/>
                <a:cs typeface="Arial" pitchFamily="34" charset="0"/>
              </a:rPr>
              <a:t>үшінші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latin typeface="Arial" pitchFamily="34" charset="0"/>
                <a:cs typeface="Arial" pitchFamily="34" charset="0"/>
              </a:rPr>
              <a:t>шекара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latin typeface="Arial" pitchFamily="34" charset="0"/>
                <a:cs typeface="Arial" pitchFamily="34" charset="0"/>
              </a:rPr>
              <a:t>өткелінің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latin typeface="Arial" pitchFamily="34" charset="0"/>
                <a:cs typeface="Arial" pitchFamily="34" charset="0"/>
              </a:rPr>
              <a:t>ашылуымен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latin typeface="Arial" pitchFamily="34" charset="0"/>
                <a:cs typeface="Arial" pitchFamily="34" charset="0"/>
              </a:rPr>
              <a:t>елдің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latin typeface="Arial" pitchFamily="34" charset="0"/>
                <a:cs typeface="Arial" pitchFamily="34" charset="0"/>
              </a:rPr>
              <a:t>транзиттік-көліктік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latin typeface="Arial" pitchFamily="34" charset="0"/>
                <a:cs typeface="Arial" pitchFamily="34" charset="0"/>
              </a:rPr>
              <a:t>әлеуетін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</a:t>
            </a:r>
            <a:r>
              <a:rPr lang="ru-RU" sz="1000" dirty="0" err="1">
                <a:latin typeface="Arial" pitchFamily="34" charset="0"/>
                <a:cs typeface="Arial" pitchFamily="34" charset="0"/>
              </a:rPr>
              <a:t>арттыру</a:t>
            </a:r>
            <a:endParaRPr lang="ru-RU" sz="1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52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C:\Users\User\Desktop\депутатам\Безымянный-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97" y="1300987"/>
            <a:ext cx="8708104" cy="4464813"/>
          </a:xfrm>
          <a:prstGeom prst="rect">
            <a:avLst/>
          </a:prstGeom>
          <a:noFill/>
          <a:effectLst>
            <a:innerShdw blurRad="63500" dist="50800" dir="81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39773" y="130806"/>
            <a:ext cx="116878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ық-Мойынты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кедегі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інші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дың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16" name="Rectangle 2">
            <a:extLst>
              <a:ext uri="{FF2B5EF4-FFF2-40B4-BE49-F238E27FC236}">
                <a16:creationId xmlns="" xmlns:a16="http://schemas.microsoft.com/office/drawing/2014/main" id="{0B692ED1-EC4C-CF84-49E4-7882666E2DF7}"/>
              </a:ext>
            </a:extLst>
          </p:cNvPr>
          <p:cNvSpPr txBox="1">
            <a:spLocks noChangeArrowheads="1"/>
          </p:cNvSpPr>
          <p:nvPr/>
        </p:nvSpPr>
        <p:spPr>
          <a:xfrm>
            <a:off x="1495302" y="6667146"/>
            <a:ext cx="9216428" cy="149379"/>
          </a:xfrm>
          <a:prstGeom prst="rect">
            <a:avLst/>
          </a:prstGeom>
          <a:noFill/>
          <a:ln>
            <a:noFill/>
          </a:ln>
        </p:spPr>
        <p:txBody>
          <a:bodyPr vert="horz" wrap="square" lIns="64824" tIns="32412" rIns="64824" bIns="32412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kk-KZ" sz="11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Қ А З А Қ С Т А Н  Т Е М І Р  Ж О Л Ы</a:t>
            </a:r>
            <a:endParaRPr lang="ru-RU" sz="11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A2304D50-895C-5179-2486-EC651C1488FB}"/>
              </a:ext>
            </a:extLst>
          </p:cNvPr>
          <p:cNvCxnSpPr>
            <a:cxnSpLocks/>
          </p:cNvCxnSpPr>
          <p:nvPr/>
        </p:nvCxnSpPr>
        <p:spPr>
          <a:xfrm>
            <a:off x="0" y="580993"/>
            <a:ext cx="12192000" cy="3785"/>
          </a:xfrm>
          <a:prstGeom prst="line">
            <a:avLst/>
          </a:prstGeom>
          <a:ln w="57150" cmpd="thickThin">
            <a:solidFill>
              <a:srgbClr val="003D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67597" y="6186137"/>
            <a:ext cx="8708104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ң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дартт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84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д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5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107518" y="338555"/>
            <a:ext cx="2231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1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67597" y="621171"/>
            <a:ext cx="8708104" cy="584775"/>
          </a:xfrm>
          <a:prstGeom prst="rect">
            <a:avLst/>
          </a:prstGeom>
          <a:solidFill>
            <a:schemeClr val="bg1"/>
          </a:solidFill>
          <a:ln>
            <a:solidFill>
              <a:srgbClr val="FFFFFF"/>
            </a:solidFill>
          </a:ln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txBody>
          <a:bodyPr wrap="square">
            <a:spAutoFit/>
          </a:bodyPr>
          <a:lstStyle/>
          <a:p>
            <a:pPr algn="just"/>
            <a:r>
              <a:rPr lang="kk-KZ" sz="1600" dirty="0"/>
              <a:t>Жобаның мақсаты: Жобаны жүзеге асыру қуаттылықты 5 есеге арттырады (24-тен 120 пойызға дейін) және контейнерлік пойыздардың жылдамдығын тәулігіне 1500 км-ге дейін арттыру.</a:t>
            </a:r>
            <a:endParaRPr lang="ru-RU" sz="1500" dirty="0">
              <a:solidFill>
                <a:srgbClr val="FF000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7597" y="5844607"/>
            <a:ext cx="3083088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ң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542 млрд </a:t>
            </a:r>
            <a:r>
              <a:rPr lang="ru-RU" sz="15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endParaRPr lang="ru-RU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775702" y="1205946"/>
            <a:ext cx="3351960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 параметрлері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дың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ындығы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966,5 км,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836,1 км, станция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ы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130,4 км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ек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ункт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ғыртуға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ды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нды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тарды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лу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стырылған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396 дана,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en-US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sz="1500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ғын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ірлер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53 дана;</a:t>
            </a:r>
          </a:p>
          <a:p>
            <a:pPr algn="just"/>
            <a:r>
              <a:rPr lang="en-US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en-US" sz="1500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таша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ірлер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34 дана;</a:t>
            </a:r>
          </a:p>
          <a:p>
            <a:pPr algn="just"/>
            <a:r>
              <a:rPr lang="en-US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sz="1500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рі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ерлер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5 дана;</a:t>
            </a:r>
            <a:endParaRPr lang="en-US" sz="15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en-US" sz="1500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жол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елдері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12 дана;</a:t>
            </a:r>
            <a:endParaRPr lang="en-US" sz="15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</a:t>
            </a:r>
            <a:r>
              <a:rPr lang="en-US" sz="1500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жол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елдері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2 </a:t>
            </a:r>
            <a:r>
              <a:rPr lang="ru-RU" sz="1500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а</a:t>
            </a:r>
            <a:endParaRPr lang="ru-RU" sz="15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500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-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яу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ншілер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ірлері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2 дана;</a:t>
            </a:r>
            <a:endParaRPr lang="en-US" sz="15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sz="1500" dirty="0" smtClean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өткізгіш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бырлар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288 дана.</a:t>
            </a:r>
          </a:p>
          <a:p>
            <a:pPr algn="just"/>
            <a:endParaRPr lang="ru-RU" sz="14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6103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26" name="Picture 10" descr="C:\Users\User\Desktop\депутатам\фотографии\WhatsApp Image 2023-11-27 at 20.28.38 (3).jpe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086" y="942878"/>
            <a:ext cx="1151583" cy="2047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39773" y="130806"/>
            <a:ext cx="116878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йынты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ық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кесінде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кінші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дың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сының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ы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="" xmlns:a16="http://schemas.microsoft.com/office/drawing/2014/main" id="{0B692ED1-EC4C-CF84-49E4-7882666E2DF7}"/>
              </a:ext>
            </a:extLst>
          </p:cNvPr>
          <p:cNvSpPr txBox="1">
            <a:spLocks noChangeArrowheads="1"/>
          </p:cNvSpPr>
          <p:nvPr/>
        </p:nvSpPr>
        <p:spPr>
          <a:xfrm>
            <a:off x="1495302" y="6667146"/>
            <a:ext cx="9216428" cy="149379"/>
          </a:xfrm>
          <a:prstGeom prst="rect">
            <a:avLst/>
          </a:prstGeom>
          <a:noFill/>
          <a:ln>
            <a:noFill/>
          </a:ln>
        </p:spPr>
        <p:txBody>
          <a:bodyPr vert="horz" wrap="square" lIns="64824" tIns="32412" rIns="64824" bIns="32412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kk-KZ" sz="11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Қ А З А Қ С Т А Н  Т Е М І Р  Ж О Л Ы</a:t>
            </a:r>
            <a:endParaRPr lang="ru-RU" sz="11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A2304D50-895C-5179-2486-EC651C1488FB}"/>
              </a:ext>
            </a:extLst>
          </p:cNvPr>
          <p:cNvCxnSpPr>
            <a:cxnSpLocks/>
          </p:cNvCxnSpPr>
          <p:nvPr/>
        </p:nvCxnSpPr>
        <p:spPr>
          <a:xfrm>
            <a:off x="0" y="580993"/>
            <a:ext cx="12192000" cy="3785"/>
          </a:xfrm>
          <a:prstGeom prst="line">
            <a:avLst/>
          </a:prstGeom>
          <a:ln w="57150" cmpd="thickThin">
            <a:solidFill>
              <a:srgbClr val="003D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174073" y="942878"/>
            <a:ext cx="417104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 асты қабатын толтыру бойынша жұмыс: 600 шақырымнан астам 26 кезеңде жүзеге асырылады. 7,1 млн м³-дің 5,2 млн м³ (72%) </a:t>
            </a:r>
            <a:endParaRPr lang="ru-RU" sz="15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81933" y="3118453"/>
            <a:ext cx="429268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0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қырымға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уық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льс-</a:t>
            </a:r>
            <a:r>
              <a:rPr lang="ru-RU" sz="15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палды</a:t>
            </a:r>
            <a:r>
              <a:rPr 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оры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селді</a:t>
            </a:r>
            <a:r>
              <a:rPr 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ңына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20 км-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н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м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ельс-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палды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ын</a:t>
            </a:r>
            <a:r>
              <a:rPr 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</a:t>
            </a:r>
            <a:r>
              <a:rPr lang="kk-KZ" sz="15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</a:t>
            </a:r>
            <a:r>
              <a:rPr lang="ru-RU" sz="15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у</a:t>
            </a:r>
            <a:r>
              <a:rPr lang="ru-RU" sz="15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спарлануда</a:t>
            </a:r>
            <a:endParaRPr lang="ru-RU" sz="15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39773" y="4839976"/>
            <a:ext cx="3639644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да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96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лік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нды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тарды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стакадалар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ірлер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бырлар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ату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стырылған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-ден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мы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қ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натылған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150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лігі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таждау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сында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146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лігі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с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сында</a:t>
            </a:r>
            <a:r>
              <a:rPr lang="ru-RU" sz="1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9218" name="Picture 2" descr="C:\Users\User\Desktop\депутатам\фотографии\WhatsApp Image 2023-11-27 at 20.28.35.jpe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314" y="5017904"/>
            <a:ext cx="2134772" cy="1601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1" name="Picture 5" descr="C:\Users\User\Desktop\депутатам\фотографии\WhatsApp Image 2023-11-27 at 20.28.35 (1).jpe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086" y="5292653"/>
            <a:ext cx="2947022" cy="1396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9" name="Picture 3" descr="C:\Users\User\Desktop\депутатам\фотографии\WhatsApp Image 2023-11-27 at 20.28.34 (1).jpe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6107" y="4839976"/>
            <a:ext cx="2058900" cy="1544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C:\Users\User\Desktop\депутатам\фотографии\WhatsApp Image 2023-11-27 at 21.44.45.jpe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0962" y="3480780"/>
            <a:ext cx="2416348" cy="135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3" name="Picture 7" descr="C:\Users\User\Desktop\депутатам\фотографии\WhatsApp Image 2023-11-27 at 21.44.44 (1).jpe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04781" y="3668640"/>
            <a:ext cx="2527186" cy="1421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4" name="Picture 8" descr="C:\Users\User\Desktop\депутатам\фотографии\WhatsApp Image 2023-11-27 at 21.44.45 (1).jpe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4614" y="3223685"/>
            <a:ext cx="2416348" cy="1359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5" name="Picture 9" descr="C:\Users\User\Desktop\депутатам\фотографии\WhatsApp Image 2023-11-27 at 21.44.45 (2).jpe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9183" y="670622"/>
            <a:ext cx="1738354" cy="23178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7" name="Picture 11" descr="C:\Users\User\Desktop\депутатам\фотографии\WhatsApp Image 2023-11-27 at 21.44.44.jpe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1018" y="836890"/>
            <a:ext cx="1614934" cy="2153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8" name="Picture 12" descr="C:\Users\User\Desktop\депутатам\фотографии\WhatsApp Image 2023-11-27 at 20.28.38.jpe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22551" y="1621720"/>
            <a:ext cx="2227999" cy="1366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43519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7419508" y="1004480"/>
            <a:ext cx="4936950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баның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қсаты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Алматы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бын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40%-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ға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ңілдету</a:t>
            </a:r>
            <a:endParaRPr lang="ru-RU" sz="15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кті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еткізу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рзімін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ге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йін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сқарту</a:t>
            </a:r>
            <a:endParaRPr lang="ru-RU" sz="15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500" b="1" dirty="0" err="1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лаушылар</a:t>
            </a:r>
            <a:r>
              <a:rPr lang="ru-RU" sz="15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сымалының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амуы</a:t>
            </a:r>
            <a:endParaRPr lang="ru-RU" sz="15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- </a:t>
            </a:r>
            <a:r>
              <a:rPr lang="ru-RU" sz="15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30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ңа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5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нын</a:t>
            </a:r>
            <a:r>
              <a:rPr lang="ru-RU" sz="15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500" b="1" dirty="0" err="1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шу</a:t>
            </a:r>
            <a:endParaRPr lang="ru-RU" sz="1500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Номер слайда 1">
            <a:extLst>
              <a:ext uri="{FF2B5EF4-FFF2-40B4-BE49-F238E27FC236}">
                <a16:creationId xmlns="" xmlns:a16="http://schemas.microsoft.com/office/drawing/2014/main" id="{2291AA93-6EBA-6449-FA27-390E79EDAAF8}"/>
              </a:ext>
            </a:extLst>
          </p:cNvPr>
          <p:cNvSpPr txBox="1">
            <a:spLocks/>
          </p:cNvSpPr>
          <p:nvPr/>
        </p:nvSpPr>
        <p:spPr>
          <a:xfrm>
            <a:off x="11800605" y="6603337"/>
            <a:ext cx="398915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endParaRPr lang="x-none" sz="1000" b="1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="" xmlns:a16="http://schemas.microsoft.com/office/drawing/2014/main" id="{0B692ED1-EC4C-CF84-49E4-7882666E2DF7}"/>
              </a:ext>
            </a:extLst>
          </p:cNvPr>
          <p:cNvSpPr txBox="1">
            <a:spLocks noChangeArrowheads="1"/>
          </p:cNvSpPr>
          <p:nvPr/>
        </p:nvSpPr>
        <p:spPr>
          <a:xfrm>
            <a:off x="1495302" y="6667146"/>
            <a:ext cx="9216428" cy="149379"/>
          </a:xfrm>
          <a:prstGeom prst="rect">
            <a:avLst/>
          </a:prstGeom>
          <a:noFill/>
          <a:ln>
            <a:noFill/>
          </a:ln>
        </p:spPr>
        <p:txBody>
          <a:bodyPr vert="horz" wrap="square" lIns="64824" tIns="32412" rIns="64824" bIns="32412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kk-KZ" sz="1100" b="1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ea typeface="Segoe UI Symbol" panose="020B0502040204020203" pitchFamily="34" charset="0"/>
                <a:cs typeface="Arial" panose="020B0604020202020204" pitchFamily="34" charset="0"/>
              </a:rPr>
              <a:t>Қ А З А Қ С Т А Н  Т Е М І Р  Ж О Л Ы</a:t>
            </a:r>
            <a:endParaRPr lang="ru-RU" sz="1100" b="1" dirty="0">
              <a:solidFill>
                <a:schemeClr val="bg1">
                  <a:lumMod val="85000"/>
                </a:schemeClr>
              </a:solidFill>
              <a:latin typeface="Arial" panose="020B0604020202020204" pitchFamily="34" charset="0"/>
              <a:ea typeface="Segoe UI Symbol" panose="020B0502040204020203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A2304D50-895C-5179-2486-EC651C1488FB}"/>
              </a:ext>
            </a:extLst>
          </p:cNvPr>
          <p:cNvCxnSpPr>
            <a:cxnSpLocks/>
          </p:cNvCxnSpPr>
          <p:nvPr/>
        </p:nvCxnSpPr>
        <p:spPr>
          <a:xfrm>
            <a:off x="0" y="580993"/>
            <a:ext cx="12192000" cy="3785"/>
          </a:xfrm>
          <a:prstGeom prst="line">
            <a:avLst/>
          </a:prstGeom>
          <a:ln w="57150" cmpd="thickThin">
            <a:solidFill>
              <a:srgbClr val="003D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0294" y="5095979"/>
            <a:ext cx="1213958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ы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algn="just">
              <a:buFont typeface="Arial" pitchFamily="34" charset="0"/>
              <a:buChar char="•"/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шік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си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жат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бін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lvl="0" indent="-171450" algn="just">
              <a:buFont typeface="Arial" pitchFamily="34" charset="0"/>
              <a:buChar char="•"/>
              <a:defRPr/>
            </a:pP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з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пкілік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ықталғанн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ын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ыла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itchFamily="34" charset="0"/>
              <a:buChar char="•"/>
              <a:defRPr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қ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рам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імдерін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40%-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уығ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л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лматы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ыс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діг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імдер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ы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22" name="Группа 21"/>
          <p:cNvGrpSpPr/>
          <p:nvPr/>
        </p:nvGrpSpPr>
        <p:grpSpPr>
          <a:xfrm>
            <a:off x="179336" y="728783"/>
            <a:ext cx="7083233" cy="4367196"/>
            <a:chOff x="96224" y="703885"/>
            <a:chExt cx="5671998" cy="3606007"/>
          </a:xfrm>
        </p:grpSpPr>
        <p:pic>
          <p:nvPicPr>
            <p:cNvPr id="23" name="Рисунок 22" descr="Изображение выглядит как карта&#10;&#10;Автоматически созданное описание">
              <a:extLst>
                <a:ext uri="{FF2B5EF4-FFF2-40B4-BE49-F238E27FC236}">
                  <a16:creationId xmlns="" xmlns:a16="http://schemas.microsoft.com/office/drawing/2014/main" id="{B893203A-1ABB-67C1-405B-6008A825775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932" t="63637" r="5624" b="11337"/>
            <a:stretch/>
          </p:blipFill>
          <p:spPr>
            <a:xfrm>
              <a:off x="96224" y="703885"/>
              <a:ext cx="5671998" cy="3606007"/>
            </a:xfrm>
            <a:prstGeom prst="rect">
              <a:avLst/>
            </a:prstGeom>
            <a:ln>
              <a:solidFill>
                <a:sysClr val="windowText" lastClr="000000"/>
              </a:solidFill>
            </a:ln>
          </p:spPr>
        </p:pic>
        <p:sp>
          <p:nvSpPr>
            <p:cNvPr id="24" name="Овал 23">
              <a:extLst>
                <a:ext uri="{FF2B5EF4-FFF2-40B4-BE49-F238E27FC236}">
                  <a16:creationId xmlns="" xmlns:a16="http://schemas.microsoft.com/office/drawing/2014/main" id="{EAD96E4C-AC05-7C43-EAEA-C5DDB226E85D}"/>
                </a:ext>
              </a:extLst>
            </p:cNvPr>
            <p:cNvSpPr/>
            <p:nvPr/>
          </p:nvSpPr>
          <p:spPr>
            <a:xfrm>
              <a:off x="3203345" y="2562726"/>
              <a:ext cx="130405" cy="13857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F33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Полилиния: фигура 7">
              <a:extLst>
                <a:ext uri="{FF2B5EF4-FFF2-40B4-BE49-F238E27FC236}">
                  <a16:creationId xmlns="" xmlns:a16="http://schemas.microsoft.com/office/drawing/2014/main" id="{E5667294-B2FA-FA0F-3B23-F8408CFCCBF7}"/>
                </a:ext>
              </a:extLst>
            </p:cNvPr>
            <p:cNvSpPr/>
            <p:nvPr/>
          </p:nvSpPr>
          <p:spPr>
            <a:xfrm rot="21090728">
              <a:off x="2940423" y="2609154"/>
              <a:ext cx="262922" cy="45719"/>
            </a:xfrm>
            <a:custGeom>
              <a:avLst/>
              <a:gdLst>
                <a:gd name="connsiteX0" fmla="*/ 685800 w 685800"/>
                <a:gd name="connsiteY0" fmla="*/ 366713 h 366713"/>
                <a:gd name="connsiteX1" fmla="*/ 0 w 685800"/>
                <a:gd name="connsiteY1" fmla="*/ 0 h 36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800" h="366713">
                  <a:moveTo>
                    <a:pt x="685800" y="366713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 algn="ctr">
              <a:solidFill>
                <a:srgbClr val="FF33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Овал 25">
              <a:extLst>
                <a:ext uri="{FF2B5EF4-FFF2-40B4-BE49-F238E27FC236}">
                  <a16:creationId xmlns="" xmlns:a16="http://schemas.microsoft.com/office/drawing/2014/main" id="{8F14F3EB-DFDB-A07B-4E9A-6C38D27AA0EF}"/>
                </a:ext>
              </a:extLst>
            </p:cNvPr>
            <p:cNvSpPr/>
            <p:nvPr/>
          </p:nvSpPr>
          <p:spPr>
            <a:xfrm>
              <a:off x="2790755" y="2562726"/>
              <a:ext cx="147733" cy="13857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F33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11107518" y="338555"/>
            <a:ext cx="22313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1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511629" y="3"/>
            <a:ext cx="1168788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Алматы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циясының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рабын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п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тін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ма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ісінің</a:t>
            </a:r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600" b="1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6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419509" y="2604197"/>
            <a:ext cx="4580554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5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 параметрлері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ындығы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30 км,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ар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7,4 км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ек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тер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– 3</a:t>
            </a:r>
          </a:p>
          <a:p>
            <a:pPr algn="just"/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лық-экономикалық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рсеткіштер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зық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ясы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III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лу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циялары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2 ст. (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ыбек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Бек пен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іген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ек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үктелер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3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лік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(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рбұлақ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йынқұм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арна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35,5 млрд. 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ҚҚС-</a:t>
            </a:r>
            <a:r>
              <a:rPr lang="ru-RU" sz="15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з</a:t>
            </a:r>
            <a:r>
              <a:rPr lang="ru-RU" sz="15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4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9542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5539740" y="527723"/>
            <a:ext cx="6101801" cy="1169551"/>
          </a:xfrm>
          <a:prstGeom prst="rect">
            <a:avLst/>
          </a:prstGeom>
          <a:noFill/>
          <a:ln w="76200">
            <a:noFill/>
          </a:ln>
        </p:spPr>
        <p:txBody>
          <a:bodyPr wrap="square">
            <a:spAutoFit/>
          </a:bodyPr>
          <a:lstStyle/>
          <a:p>
            <a:pPr algn="just"/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баның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қсаты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азақстан-Өзбекстан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карасы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қылы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ңа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кізу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унктін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шу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қылы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ліміздің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лік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етін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амыту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үркістан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лысының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ап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тқанда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қтаарал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лес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рыағаш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дандарының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-экономикалық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амуы</a:t>
            </a:r>
            <a:endParaRPr lang="ru-RU" sz="1400" b="1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="" xmlns:a16="http://schemas.microsoft.com/office/drawing/2014/main" id="{FA42C800-FD46-46BF-B00B-0FC6534AEE40}"/>
              </a:ext>
            </a:extLst>
          </p:cNvPr>
          <p:cNvCxnSpPr>
            <a:cxnSpLocks/>
          </p:cNvCxnSpPr>
          <p:nvPr/>
        </p:nvCxnSpPr>
        <p:spPr>
          <a:xfrm>
            <a:off x="-8389" y="493047"/>
            <a:ext cx="12192000" cy="3785"/>
          </a:xfrm>
          <a:prstGeom prst="line">
            <a:avLst/>
          </a:prstGeom>
          <a:ln w="57150" cmpd="thickThin">
            <a:solidFill>
              <a:srgbClr val="003D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 descr="Изображение выглядит как карта&#10;&#10;Автоматически созданное описание">
            <a:extLst>
              <a:ext uri="{FF2B5EF4-FFF2-40B4-BE49-F238E27FC236}">
                <a16:creationId xmlns="" xmlns:a16="http://schemas.microsoft.com/office/drawing/2014/main" id="{14F25BA3-A32A-425A-F48D-D80D39B99AB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380" t="72607" r="22727" b="-209"/>
          <a:stretch/>
        </p:blipFill>
        <p:spPr>
          <a:xfrm>
            <a:off x="52416" y="624599"/>
            <a:ext cx="5487324" cy="3874829"/>
          </a:xfrm>
          <a:prstGeom prst="rect">
            <a:avLst/>
          </a:prstGeom>
          <a:ln>
            <a:solidFill>
              <a:sysClr val="windowText" lastClr="000000"/>
            </a:solidFill>
          </a:ln>
        </p:spPr>
      </p:pic>
      <p:sp>
        <p:nvSpPr>
          <p:cNvPr id="16" name="Полилиния: фигура 7">
            <a:extLst>
              <a:ext uri="{FF2B5EF4-FFF2-40B4-BE49-F238E27FC236}">
                <a16:creationId xmlns="" xmlns:a16="http://schemas.microsoft.com/office/drawing/2014/main" id="{AD298963-3D67-14E6-BFDA-BED3E42C5BD9}"/>
              </a:ext>
            </a:extLst>
          </p:cNvPr>
          <p:cNvSpPr/>
          <p:nvPr/>
        </p:nvSpPr>
        <p:spPr>
          <a:xfrm>
            <a:off x="1530160" y="2620232"/>
            <a:ext cx="191511" cy="955615"/>
          </a:xfrm>
          <a:custGeom>
            <a:avLst/>
            <a:gdLst>
              <a:gd name="connsiteX0" fmla="*/ 130629 w 130629"/>
              <a:gd name="connsiteY0" fmla="*/ 0 h 374468"/>
              <a:gd name="connsiteX1" fmla="*/ 0 w 130629"/>
              <a:gd name="connsiteY1" fmla="*/ 374468 h 374468"/>
              <a:gd name="connsiteX0" fmla="*/ 89354 w 89354"/>
              <a:gd name="connsiteY0" fmla="*/ 0 h 358593"/>
              <a:gd name="connsiteX1" fmla="*/ 0 w 89354"/>
              <a:gd name="connsiteY1" fmla="*/ 358593 h 358593"/>
              <a:gd name="connsiteX0" fmla="*/ 89354 w 89354"/>
              <a:gd name="connsiteY0" fmla="*/ 0 h 358593"/>
              <a:gd name="connsiteX1" fmla="*/ 0 w 89354"/>
              <a:gd name="connsiteY1" fmla="*/ 358593 h 3585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9354" h="358593">
                <a:moveTo>
                  <a:pt x="89354" y="0"/>
                </a:moveTo>
                <a:cubicBezTo>
                  <a:pt x="45811" y="124823"/>
                  <a:pt x="18143" y="221070"/>
                  <a:pt x="0" y="358593"/>
                </a:cubicBezTo>
              </a:path>
            </a:pathLst>
          </a:custGeom>
          <a:noFill/>
          <a:ln w="38100" cap="flat" cmpd="sng" algn="ctr">
            <a:solidFill>
              <a:srgbClr val="FF33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Овал 22">
            <a:extLst>
              <a:ext uri="{FF2B5EF4-FFF2-40B4-BE49-F238E27FC236}">
                <a16:creationId xmlns="" xmlns:a16="http://schemas.microsoft.com/office/drawing/2014/main" id="{EAD96E4C-AC05-7C43-EAEA-C5DDB226E85D}"/>
              </a:ext>
            </a:extLst>
          </p:cNvPr>
          <p:cNvSpPr/>
          <p:nvPr/>
        </p:nvSpPr>
        <p:spPr>
          <a:xfrm>
            <a:off x="1405458" y="3449247"/>
            <a:ext cx="180880" cy="22490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FF33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Овал 25">
            <a:extLst>
              <a:ext uri="{FF2B5EF4-FFF2-40B4-BE49-F238E27FC236}">
                <a16:creationId xmlns="" xmlns:a16="http://schemas.microsoft.com/office/drawing/2014/main" id="{8F14F3EB-DFDB-A07B-4E9A-6C38D27AA0EF}"/>
              </a:ext>
            </a:extLst>
          </p:cNvPr>
          <p:cNvSpPr/>
          <p:nvPr/>
        </p:nvSpPr>
        <p:spPr>
          <a:xfrm>
            <a:off x="1646533" y="2517700"/>
            <a:ext cx="180880" cy="224900"/>
          </a:xfrm>
          <a:prstGeom prst="ellipse">
            <a:avLst/>
          </a:prstGeom>
          <a:solidFill>
            <a:sysClr val="window" lastClr="FFFFFF"/>
          </a:solidFill>
          <a:ln w="12700" cap="flat" cmpd="sng" algn="ctr">
            <a:solidFill>
              <a:srgbClr val="FF33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49988" y="4944045"/>
            <a:ext cx="11591553" cy="9848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ң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ы</a:t>
            </a: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algn="just">
              <a:buFont typeface="Arial" panose="020B0604020202020204" pitchFamily="34" charset="0"/>
              <a:buChar char="•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тт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рын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ады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171450" lvl="0" indent="-171450" algn="just">
              <a:buFont typeface="Arial" panose="020B0604020202020204" pitchFamily="34" charset="0"/>
              <a:buChar char="•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жатт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әсімдер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талғанн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ын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ылады</a:t>
            </a:r>
            <a:endParaRPr lang="ru-RU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lvl="0" indent="-171450" algn="just">
              <a:buFont typeface="Arial" panose="020B0604020202020204" pitchFamily="34" charset="0"/>
              <a:buChar char="•"/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погеодезия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здестір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тар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тал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="" xmlns:a16="http://schemas.microsoft.com/office/drawing/2014/main" id="{820B6C58-1802-4D32-AD39-91548A417AF7}"/>
              </a:ext>
            </a:extLst>
          </p:cNvPr>
          <p:cNvSpPr/>
          <p:nvPr/>
        </p:nvSpPr>
        <p:spPr>
          <a:xfrm>
            <a:off x="7522" y="0"/>
            <a:ext cx="12191994" cy="33855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рбаза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бекстанмен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ара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ісінің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5539740" y="1690632"/>
            <a:ext cx="634095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 параметрлері 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ындығы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152,3 км: </a:t>
            </a:r>
          </a:p>
          <a:p>
            <a:pPr algn="just"/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1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у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шені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дауыт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таарал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дария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циясына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тын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бекстанның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арасы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– 123,6 км;</a:t>
            </a:r>
          </a:p>
          <a:p>
            <a:pPr algn="just"/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2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у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шені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ісай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бекстанның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дария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сасына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тын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арасы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– 28,7 км (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,8-і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ды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ғырту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</a:p>
          <a:p>
            <a:pPr algn="just"/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ек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тер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– 7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сортименті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мір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60%-дан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м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н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ық</a:t>
            </a:r>
            <a:endParaRPr lang="ru-RU" sz="14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0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ымалдау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нің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мы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ына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5 млн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ннаны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ң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дын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а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50 млрд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4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endParaRPr lang="ru-RU" sz="14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4810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8B11A86D-382B-4F4F-8FE0-CE6D6A62A2C5}"/>
              </a:ext>
            </a:extLst>
          </p:cNvPr>
          <p:cNvSpPr txBox="1">
            <a:spLocks/>
          </p:cNvSpPr>
          <p:nvPr/>
        </p:nvSpPr>
        <p:spPr>
          <a:xfrm>
            <a:off x="11842308" y="6647124"/>
            <a:ext cx="349691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ru-RU" sz="1000" b="1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x-none" sz="1000" b="1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F3502F4D-2DAA-9377-AA86-41CB457BFA82}"/>
              </a:ext>
            </a:extLst>
          </p:cNvPr>
          <p:cNvCxnSpPr>
            <a:cxnSpLocks/>
          </p:cNvCxnSpPr>
          <p:nvPr/>
        </p:nvCxnSpPr>
        <p:spPr>
          <a:xfrm>
            <a:off x="33556" y="598319"/>
            <a:ext cx="12192000" cy="3785"/>
          </a:xfrm>
          <a:prstGeom prst="line">
            <a:avLst/>
          </a:prstGeom>
          <a:ln w="57150" cmpd="thickThin">
            <a:solidFill>
              <a:srgbClr val="003D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Группа 19"/>
          <p:cNvGrpSpPr/>
          <p:nvPr/>
        </p:nvGrpSpPr>
        <p:grpSpPr>
          <a:xfrm>
            <a:off x="81901" y="716141"/>
            <a:ext cx="5404499" cy="3541960"/>
            <a:chOff x="7055444" y="3928285"/>
            <a:chExt cx="3374228" cy="2902283"/>
          </a:xfrm>
        </p:grpSpPr>
        <p:pic>
          <p:nvPicPr>
            <p:cNvPr id="21" name="Рисунок 20" descr="Изображение выглядит как карта&#10;&#10;Автоматически созданное описание">
              <a:extLst>
                <a:ext uri="{FF2B5EF4-FFF2-40B4-BE49-F238E27FC236}">
                  <a16:creationId xmlns="" xmlns:a16="http://schemas.microsoft.com/office/drawing/2014/main" id="{1259879E-F41E-0D3A-C91A-803E6280EE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0932" t="24336" r="2" b="11337"/>
            <a:stretch/>
          </p:blipFill>
          <p:spPr>
            <a:xfrm>
              <a:off x="7055444" y="3928285"/>
              <a:ext cx="3374228" cy="2902283"/>
            </a:xfrm>
            <a:prstGeom prst="rect">
              <a:avLst/>
            </a:prstGeom>
            <a:ln>
              <a:solidFill>
                <a:sysClr val="windowText" lastClr="000000"/>
              </a:solidFill>
            </a:ln>
          </p:spPr>
        </p:pic>
        <p:sp>
          <p:nvSpPr>
            <p:cNvPr id="22" name="Полилиния: фигура 7">
              <a:extLst>
                <a:ext uri="{FF2B5EF4-FFF2-40B4-BE49-F238E27FC236}">
                  <a16:creationId xmlns="" xmlns:a16="http://schemas.microsoft.com/office/drawing/2014/main" id="{E5667294-B2FA-FA0F-3B23-F8408CFCCBF7}"/>
                </a:ext>
              </a:extLst>
            </p:cNvPr>
            <p:cNvSpPr/>
            <p:nvPr/>
          </p:nvSpPr>
          <p:spPr>
            <a:xfrm>
              <a:off x="9084015" y="5057199"/>
              <a:ext cx="597965" cy="300279"/>
            </a:xfrm>
            <a:custGeom>
              <a:avLst/>
              <a:gdLst>
                <a:gd name="connsiteX0" fmla="*/ 685800 w 685800"/>
                <a:gd name="connsiteY0" fmla="*/ 366713 h 366713"/>
                <a:gd name="connsiteX1" fmla="*/ 0 w 685800"/>
                <a:gd name="connsiteY1" fmla="*/ 0 h 366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85800" h="366713">
                  <a:moveTo>
                    <a:pt x="685800" y="366713"/>
                  </a:moveTo>
                  <a:lnTo>
                    <a:pt x="0" y="0"/>
                  </a:lnTo>
                </a:path>
              </a:pathLst>
            </a:custGeom>
            <a:noFill/>
            <a:ln w="38100" cap="flat" cmpd="sng" algn="ctr">
              <a:solidFill>
                <a:srgbClr val="FF33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Овал 22">
              <a:extLst>
                <a:ext uri="{FF2B5EF4-FFF2-40B4-BE49-F238E27FC236}">
                  <a16:creationId xmlns="" xmlns:a16="http://schemas.microsoft.com/office/drawing/2014/main" id="{E263F6AE-6BC5-EDA2-FE04-CEF003EC66F6}"/>
                </a:ext>
              </a:extLst>
            </p:cNvPr>
            <p:cNvSpPr/>
            <p:nvPr/>
          </p:nvSpPr>
          <p:spPr>
            <a:xfrm>
              <a:off x="9650590" y="5326280"/>
              <a:ext cx="62778" cy="5895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F33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Овал 30">
              <a:extLst>
                <a:ext uri="{FF2B5EF4-FFF2-40B4-BE49-F238E27FC236}">
                  <a16:creationId xmlns="" xmlns:a16="http://schemas.microsoft.com/office/drawing/2014/main" id="{02307DB8-8130-B905-6AAA-67CB7F709B81}"/>
                </a:ext>
              </a:extLst>
            </p:cNvPr>
            <p:cNvSpPr/>
            <p:nvPr/>
          </p:nvSpPr>
          <p:spPr>
            <a:xfrm>
              <a:off x="9052625" y="5027490"/>
              <a:ext cx="62778" cy="58956"/>
            </a:xfrm>
            <a:prstGeom prst="ellipse">
              <a:avLst/>
            </a:prstGeom>
            <a:solidFill>
              <a:sysClr val="window" lastClr="FFFFFF"/>
            </a:solidFill>
            <a:ln w="12700" cap="flat" cmpd="sng" algn="ctr">
              <a:solidFill>
                <a:srgbClr val="FF33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="" xmlns:a16="http://schemas.microsoft.com/office/drawing/2014/main" id="{28038601-FC77-7AEA-3FD4-84B9EE5CDD46}"/>
                </a:ext>
              </a:extLst>
            </p:cNvPr>
            <p:cNvSpPr txBox="1"/>
            <p:nvPr/>
          </p:nvSpPr>
          <p:spPr>
            <a:xfrm>
              <a:off x="8820792" y="4960215"/>
              <a:ext cx="363345" cy="1284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Аягоз</a:t>
              </a:r>
              <a:endPara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="" xmlns:a16="http://schemas.microsoft.com/office/drawing/2014/main" id="{2F4A1C1C-1BD0-1B63-2D53-E00FEEED12A9}"/>
                </a:ext>
              </a:extLst>
            </p:cNvPr>
            <p:cNvSpPr txBox="1"/>
            <p:nvPr/>
          </p:nvSpPr>
          <p:spPr>
            <a:xfrm>
              <a:off x="9650589" y="5183698"/>
              <a:ext cx="441250" cy="1284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Бахты</a:t>
              </a:r>
              <a:endPara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" name="Прямоугольник 14"/>
          <p:cNvSpPr/>
          <p:nvPr/>
        </p:nvSpPr>
        <p:spPr>
          <a:xfrm>
            <a:off x="152400" y="-21767"/>
            <a:ext cx="12192000" cy="58477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-Қытай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арасында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стағы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емей-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тоғай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скесіне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тын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ші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аралық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жол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елінің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ы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(</a:t>
            </a:r>
            <a:r>
              <a:rPr lang="ru-RU" sz="1600" b="1" dirty="0" err="1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ты-Аягөз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800997" y="715151"/>
            <a:ext cx="644434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баның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ақсаты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–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таймен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үшінші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кара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келінің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шылуымен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ліміздің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ранзиттік-көліктік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етін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рттыру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Абай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уданының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әлеуметтік-экономикалық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амуы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5821537" y="1471101"/>
            <a:ext cx="5935173" cy="30623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3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лық-экономикалық көрсеткіштер: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ындығы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272 км,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л</a:t>
            </a:r>
            <a:endParaRPr lang="ru-RU" sz="12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ек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ункттер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- 1</a:t>
            </a:r>
            <a:r>
              <a:rPr lang="x-none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ru-RU" sz="12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нцияға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гі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шықтық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ты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ҚР) ст.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угучак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ҚХР) – 11 км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ң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алық-экономикалық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демесіне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ы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77,5 млрд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ні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endParaRPr lang="ru-RU" sz="12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56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а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й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ымалдау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лемінің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жамы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9,5 млн.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ннаны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йды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індегі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рының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аны – 1700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lang="ru-RU" sz="12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нды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тар</a:t>
            </a:r>
            <a:endParaRPr lang="ru-RU" sz="1200" dirty="0">
              <a:solidFill>
                <a:srgbClr val="0A2E5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ірлер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 47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жол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елдері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 23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жол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елдері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 8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ғын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нды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тар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ның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л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дау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пелері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- 75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яу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ншілер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өпірлері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5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у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ары</a:t>
            </a:r>
            <a:r>
              <a:rPr lang="ru-RU" sz="1200" dirty="0">
                <a:solidFill>
                  <a:srgbClr val="0A2E5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16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1777" y="4548755"/>
            <a:ext cx="12191997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2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ң</a:t>
            </a:r>
            <a:r>
              <a:rPr lang="ru-RU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ғымдағы</a:t>
            </a:r>
            <a:r>
              <a:rPr lang="ru-RU" sz="12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ы</a:t>
            </a:r>
            <a:endParaRPr lang="ru-RU" sz="120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itchFamily="34" charset="0"/>
              <a:buChar char="•"/>
            </a:pPr>
            <a:r>
              <a:rPr lang="ru-RU" sz="1200" dirty="0" err="1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200" dirty="0" smtClean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23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ғы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9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ркүйект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емьер-Министр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нындағы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номиканы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ғырту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өніндегі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иссияның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сында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бал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ранс Компани» ЖШС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вестор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тінд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ұлдау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қылы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ЖӘ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дерін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қсас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к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удың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лоттық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тігі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ұлданды</a:t>
            </a:r>
            <a:endParaRPr lang="ru-RU" sz="1200" dirty="0">
              <a:solidFill>
                <a:srgbClr val="1F4E7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itchFamily="34" charset="0"/>
              <a:buChar char="•"/>
            </a:pP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кезең: «ҚТЖ» ҰК» АҚ мен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вестор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асында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ны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ТЖ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ен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лерсіз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пілдіксіз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вестор 100%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ландыратын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нсорциум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у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 algn="just">
              <a:buFont typeface="Arial" pitchFamily="34" charset="0"/>
              <a:buChar char="•"/>
            </a:pP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кезең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намасына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сті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істер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гізілгеннен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ғамның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49%,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ордың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51%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естік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суымен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ЖШС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ады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Консорциум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ін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ТЖ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йындап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Жеке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орға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іберді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 algn="just">
              <a:buFont typeface="Arial" pitchFamily="34" charset="0"/>
              <a:buChar char="•"/>
            </a:pP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ып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нвестор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сы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ылғаннан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л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іржол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ісі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шігіне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еді</a:t>
            </a:r>
            <a:r>
              <a:rPr lang="ru-RU" sz="1200" dirty="0">
                <a:solidFill>
                  <a:srgbClr val="1F4E7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dirty="0">
              <a:solidFill>
                <a:srgbClr val="1F4E7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Номер слайда 1">
            <a:extLst>
              <a:ext uri="{FF2B5EF4-FFF2-40B4-BE49-F238E27FC236}">
                <a16:creationId xmlns="" xmlns:a16="http://schemas.microsoft.com/office/drawing/2014/main" id="{8B11A86D-382B-4F4F-8FE0-CE6D6A62A2C5}"/>
              </a:ext>
            </a:extLst>
          </p:cNvPr>
          <p:cNvSpPr txBox="1">
            <a:spLocks/>
          </p:cNvSpPr>
          <p:nvPr/>
        </p:nvSpPr>
        <p:spPr>
          <a:xfrm>
            <a:off x="11994708" y="6799524"/>
            <a:ext cx="349691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>
              <a:defRPr/>
            </a:pPr>
            <a:r>
              <a:rPr lang="ru-RU" sz="1000" b="1" dirty="0">
                <a:solidFill>
                  <a:prstClr val="black">
                    <a:tint val="7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x-none" sz="1000" b="1" dirty="0">
              <a:solidFill>
                <a:prstClr val="black">
                  <a:tint val="7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0206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08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00&quot; g=&quot;70&quot; b=&quot;C0&quot;/&gt;&lt;/elem&gt;&lt;elem m_fUsage=&quot;9.00000000000000022204E-01&quot;&gt;&lt;m_msothmcolidx val=&quot;0&quot;/&gt;&lt;m_rgb r=&quot;29&quot; g=&quot;43&quot; b=&quot;78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JWJdYpEWe6mb2K3uXC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tLeC1w0j2T4YunpvnRI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lank">
  <a:themeElements>
    <a:clrScheme name="Теплый синий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2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200" dirty="0" err="1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
</file>

<file path=customXml/item10.xml>
</file>

<file path=customXml/item11.xml>
</file>

<file path=customXml/item12.xml>
</file>

<file path=customXml/item13.xml>
</file>

<file path=customXml/item14.xml>
</file>

<file path=customXml/item15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3A3CB88920D114E86D91B7DD138DC42" ma:contentTypeVersion="14" ma:contentTypeDescription="Создание документа." ma:contentTypeScope="" ma:versionID="609a13edea2554911efd1a8286341c4a">
  <xsd:schema xmlns:xsd="http://www.w3.org/2001/XMLSchema" xmlns:xs="http://www.w3.org/2001/XMLSchema" xmlns:p="http://schemas.microsoft.com/office/2006/metadata/properties" xmlns:ns3="efa9d72e-5aea-42d1-8e6a-e034c601feb5" xmlns:ns4="8d0d10bf-be57-4782-85bb-9c9ff8c39a90" targetNamespace="http://schemas.microsoft.com/office/2006/metadata/properties" ma:root="true" ma:fieldsID="758bee3bb3cd51f8e7bd7a80fbc9438a" ns3:_="" ns4:_="">
    <xsd:import namespace="efa9d72e-5aea-42d1-8e6a-e034c601feb5"/>
    <xsd:import namespace="8d0d10bf-be57-4782-85bb-9c9ff8c39a90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LengthInSeconds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a9d72e-5aea-42d1-8e6a-e034c601feb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Хэш подсказки о совместном доступе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0d10bf-be57-4782-85bb-9c9ff8c39a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4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Tags" ma:internalName="MediaServiceAutoTags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.xml>
</file>

<file path=customXml/item17.xml><?xml version="1.0" encoding="utf-8"?>
<Application xmlns="http://www.sap.com/cof/ao/powerpoint/application">
  <com.sap.ip.bi.pioneer>
    <Version>4</Version>
    <AAO_Revision>2.4.5.77122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18.xml>
</file>

<file path=customXml/item19.xml>
</file>

<file path=customXml/item2.xml>
</file>

<file path=customXml/item20.xml>
</file>

<file path=customXml/item21.xml>
</file>

<file path=customXml/item3.xml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
</file>

<file path=customXml/item8.xml><?xml version="1.0" encoding="utf-8"?>
<Application xmlns="http://www.sap.com/cof/powerpoint/application">
  <Version>2</Version>
  <Revision>2.4.4.72368</Revision>
</Application>
</file>

<file path=customXml/item9.xml>
</file>

<file path=customXml/itemProps1.xml><?xml version="1.0" encoding="utf-8"?>
<ds:datastoreItem xmlns:ds="http://schemas.openxmlformats.org/officeDocument/2006/customXml" ds:itemID="{D315E51A-24C9-4662-AE96-D3662D439F61}"/>
</file>

<file path=customXml/itemProps10.xml><?xml version="1.0" encoding="utf-8"?>
<ds:datastoreItem xmlns:ds="http://schemas.openxmlformats.org/officeDocument/2006/customXml" ds:itemID="{AF6ED674-734A-4F8A-B903-74CD2DE80BAA}"/>
</file>

<file path=customXml/itemProps11.xml><?xml version="1.0" encoding="utf-8"?>
<ds:datastoreItem xmlns:ds="http://schemas.openxmlformats.org/officeDocument/2006/customXml" ds:itemID="{713B9215-F8D9-4422-9A50-3A8B6C2C8B72}"/>
</file>

<file path=customXml/itemProps12.xml><?xml version="1.0" encoding="utf-8"?>
<ds:datastoreItem xmlns:ds="http://schemas.openxmlformats.org/officeDocument/2006/customXml" ds:itemID="{FF60DF37-ACD4-4FD7-B5D5-528E8DEECE2C}"/>
</file>

<file path=customXml/itemProps13.xml><?xml version="1.0" encoding="utf-8"?>
<ds:datastoreItem xmlns:ds="http://schemas.openxmlformats.org/officeDocument/2006/customXml" ds:itemID="{608F8B93-9929-49C6-8EA2-03141D789685}"/>
</file>

<file path=customXml/itemProps14.xml><?xml version="1.0" encoding="utf-8"?>
<ds:datastoreItem xmlns:ds="http://schemas.openxmlformats.org/officeDocument/2006/customXml" ds:itemID="{0A82ABC4-96D7-40E4-85E0-7B3724C7934D}"/>
</file>

<file path=customXml/itemProps15.xml><?xml version="1.0" encoding="utf-8"?>
<ds:datastoreItem xmlns:ds="http://schemas.openxmlformats.org/officeDocument/2006/customXml" ds:itemID="{B47D71D1-07A8-49E3-BAA1-366F0E4A3F9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fa9d72e-5aea-42d1-8e6a-e034c601feb5"/>
    <ds:schemaRef ds:uri="8d0d10bf-be57-4782-85bb-9c9ff8c39a9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16.xml><?xml version="1.0" encoding="utf-8"?>
<ds:datastoreItem xmlns:ds="http://schemas.openxmlformats.org/officeDocument/2006/customXml" ds:itemID="{4CF9F570-4542-4C51-92D6-9B58F3FFA020}"/>
</file>

<file path=customXml/itemProps17.xml><?xml version="1.0" encoding="utf-8"?>
<ds:datastoreItem xmlns:ds="http://schemas.openxmlformats.org/officeDocument/2006/customXml" ds:itemID="{A33AA528-44C4-4761-93AE-DD6827F68F46}">
  <ds:schemaRefs>
    <ds:schemaRef ds:uri="http://www.sap.com/cof/ao/powerpoint/application"/>
  </ds:schemaRefs>
</ds:datastoreItem>
</file>

<file path=customXml/itemProps18.xml><?xml version="1.0" encoding="utf-8"?>
<ds:datastoreItem xmlns:ds="http://schemas.openxmlformats.org/officeDocument/2006/customXml" ds:itemID="{5BF87847-8377-49F5-9930-C05F96092F0C}"/>
</file>

<file path=customXml/itemProps19.xml><?xml version="1.0" encoding="utf-8"?>
<ds:datastoreItem xmlns:ds="http://schemas.openxmlformats.org/officeDocument/2006/customXml" ds:itemID="{F9819131-A0A0-43C2-BC04-04A1BED0FF25}"/>
</file>

<file path=customXml/itemProps2.xml><?xml version="1.0" encoding="utf-8"?>
<ds:datastoreItem xmlns:ds="http://schemas.openxmlformats.org/officeDocument/2006/customXml" ds:itemID="{E0BA3A19-52B9-4980-B930-E9C7FDCA595D}"/>
</file>

<file path=customXml/itemProps20.xml><?xml version="1.0" encoding="utf-8"?>
<ds:datastoreItem xmlns:ds="http://schemas.openxmlformats.org/officeDocument/2006/customXml" ds:itemID="{FBD1F637-609A-45CC-8DB4-9CB7E634C5DB}"/>
</file>

<file path=customXml/itemProps21.xml><?xml version="1.0" encoding="utf-8"?>
<ds:datastoreItem xmlns:ds="http://schemas.openxmlformats.org/officeDocument/2006/customXml" ds:itemID="{93B4C672-E381-4A64-9E22-740BB65DB194}"/>
</file>

<file path=customXml/itemProps3.xml><?xml version="1.0" encoding="utf-8"?>
<ds:datastoreItem xmlns:ds="http://schemas.openxmlformats.org/officeDocument/2006/customXml" ds:itemID="{6043BD3A-576A-444D-98FF-E44B8357EE22}"/>
</file>

<file path=customXml/itemProps4.xml><?xml version="1.0" encoding="utf-8"?>
<ds:datastoreItem xmlns:ds="http://schemas.openxmlformats.org/officeDocument/2006/customXml" ds:itemID="{ACECF539-C004-41A8-BF72-A27AC65985D2}">
  <ds:schemaRefs>
    <ds:schemaRef ds:uri="http://schemas.openxmlformats.org/package/2006/metadata/core-properties"/>
    <ds:schemaRef ds:uri="efa9d72e-5aea-42d1-8e6a-e034c601feb5"/>
    <ds:schemaRef ds:uri="http://purl.org/dc/dcmitype/"/>
    <ds:schemaRef ds:uri="8d0d10bf-be57-4782-85bb-9c9ff8c39a90"/>
    <ds:schemaRef ds:uri="http://purl.org/dc/terms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4FAF72C9-25FE-4514-B968-33C9F94E072E}"/>
</file>

<file path=customXml/itemProps6.xml><?xml version="1.0" encoding="utf-8"?>
<ds:datastoreItem xmlns:ds="http://schemas.openxmlformats.org/officeDocument/2006/customXml" ds:itemID="{BC6F1C81-F9F3-4328-BF40-708C06E19224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5A388185-60C3-464D-9437-261FACAFC3F1}"/>
</file>

<file path=customXml/itemProps8.xml><?xml version="1.0" encoding="utf-8"?>
<ds:datastoreItem xmlns:ds="http://schemas.openxmlformats.org/officeDocument/2006/customXml" ds:itemID="{E6B2B6ED-4E12-4CC5-B71A-158AF02D7F64}">
  <ds:schemaRefs>
    <ds:schemaRef ds:uri="http://www.sap.com/cof/powerpoint/application"/>
  </ds:schemaRefs>
</ds:datastoreItem>
</file>

<file path=customXml/itemProps9.xml><?xml version="1.0" encoding="utf-8"?>
<ds:datastoreItem xmlns:ds="http://schemas.openxmlformats.org/officeDocument/2006/customXml" ds:itemID="{7EA8AFCE-8AB3-49E8-813E-6120354E1D5D}"/>
</file>

<file path=docProps/app.xml><?xml version="1.0" encoding="utf-8"?>
<Properties xmlns="http://schemas.openxmlformats.org/officeDocument/2006/extended-properties" xmlns:vt="http://schemas.openxmlformats.org/officeDocument/2006/docPropsVTypes">
  <TotalTime>14094</TotalTime>
  <Words>1103</Words>
  <Application>Microsoft Office PowerPoint</Application>
  <PresentationFormat>Произвольный</PresentationFormat>
  <Paragraphs>117</Paragraphs>
  <Slides>7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0" baseType="lpstr">
      <vt:lpstr>Тема Office</vt:lpstr>
      <vt:lpstr>2_blank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ашкенова М.К.</dc:creator>
  <cp:lastModifiedBy>Айжан А. Наурзбекова</cp:lastModifiedBy>
  <cp:revision>1171</cp:revision>
  <cp:lastPrinted>2023-08-23T09:04:36Z</cp:lastPrinted>
  <dcterms:created xsi:type="dcterms:W3CDTF">2020-05-18T09:01:04Z</dcterms:created>
  <dcterms:modified xsi:type="dcterms:W3CDTF">2023-11-28T03:3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INTRANET\A-Mussabekov</vt:lpwstr>
  </property>
  <property fmtid="{D5CDD505-2E9C-101B-9397-08002B2CF9AE}" pid="4" name="DLPManualFileClassificationLastModificationDate">
    <vt:lpwstr>1620202151</vt:lpwstr>
  </property>
  <property fmtid="{D5CDD505-2E9C-101B-9397-08002B2CF9AE}" pid="5" name="DLPManualFileClassificationVersion">
    <vt:lpwstr>11.2.0.14</vt:lpwstr>
  </property>
  <property fmtid="{D5CDD505-2E9C-101B-9397-08002B2CF9AE}" pid="6" name="ContentTypeId">
    <vt:lpwstr>0x010100E3A3CB88920D114E86D91B7DD138DC42</vt:lpwstr>
  </property>
</Properties>
</file>